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3.xml" ContentType="application/vnd.openxmlformats-officedocument.theme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713" r:id="rId3"/>
    <p:sldMasterId id="2147483730" r:id="rId4"/>
  </p:sldMasterIdLst>
  <p:notesMasterIdLst>
    <p:notesMasterId r:id="rId29"/>
  </p:notesMasterIdLst>
  <p:sldIdLst>
    <p:sldId id="256" r:id="rId5"/>
    <p:sldId id="2063" r:id="rId6"/>
    <p:sldId id="492" r:id="rId7"/>
    <p:sldId id="2001" r:id="rId8"/>
    <p:sldId id="283" r:id="rId9"/>
    <p:sldId id="2052" r:id="rId10"/>
    <p:sldId id="1366" r:id="rId11"/>
    <p:sldId id="2049" r:id="rId12"/>
    <p:sldId id="2042" r:id="rId13"/>
    <p:sldId id="2053" r:id="rId14"/>
    <p:sldId id="452" r:id="rId15"/>
    <p:sldId id="1985" r:id="rId16"/>
    <p:sldId id="2054" r:id="rId17"/>
    <p:sldId id="433" r:id="rId18"/>
    <p:sldId id="500" r:id="rId19"/>
    <p:sldId id="2050" r:id="rId20"/>
    <p:sldId id="2045" r:id="rId21"/>
    <p:sldId id="2020" r:id="rId22"/>
    <p:sldId id="2046" r:id="rId23"/>
    <p:sldId id="2029" r:id="rId24"/>
    <p:sldId id="2041" r:id="rId25"/>
    <p:sldId id="2061" r:id="rId26"/>
    <p:sldId id="2062" r:id="rId27"/>
    <p:sldId id="2051" r:id="rId28"/>
  </p:sldIdLst>
  <p:sldSz cx="12192000" cy="6858000"/>
  <p:notesSz cx="7102475" cy="10233025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FF610F"/>
    <a:srgbClr val="FF9900"/>
    <a:srgbClr val="35ADDD"/>
    <a:srgbClr val="60953E"/>
    <a:srgbClr val="D08D58"/>
    <a:srgbClr val="FFFF99"/>
    <a:srgbClr val="6666FF"/>
    <a:srgbClr val="66FF33"/>
    <a:srgbClr val="008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0846" autoAdjust="0"/>
    <p:restoredTop sz="94660"/>
  </p:normalViewPr>
  <p:slideViewPr>
    <p:cSldViewPr snapToGrid="0">
      <p:cViewPr varScale="1">
        <p:scale>
          <a:sx n="64" d="100"/>
          <a:sy n="64" d="100"/>
        </p:scale>
        <p:origin x="456" y="5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presProps" Target="presProps.xml"/><Relationship Id="rId8" Type="http://schemas.openxmlformats.org/officeDocument/2006/relationships/slide" Target="slides/slide4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oleObject" Target="file:///C:\Users\osmond.coelho\Desktop\APRESENTA&#199;&#195;O%20PMI\Gas%20&amp;%20Oil%20Prices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 sz="1800" b="1">
                <a:solidFill>
                  <a:schemeClr val="tx1"/>
                </a:solidFill>
              </a:rPr>
              <a:t>Brent Price (USD/bbl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>
        <c:manualLayout>
          <c:layoutTarget val="inner"/>
          <c:xMode val="edge"/>
          <c:yMode val="edge"/>
          <c:x val="4.3706064892022549E-2"/>
          <c:y val="0.10363952754370559"/>
          <c:w val="0.93944215418112953"/>
          <c:h val="0.83803044989974229"/>
        </c:manualLayout>
      </c:layout>
      <c:scatterChart>
        <c:scatterStyle val="lineMarker"/>
        <c:varyColors val="0"/>
        <c:ser>
          <c:idx val="0"/>
          <c:order val="0"/>
          <c:tx>
            <c:v>Weekly Averaged Brent Price</c:v>
          </c:tx>
          <c:spPr>
            <a:ln w="2540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xVal>
            <c:numRef>
              <c:f>Brent!$AA$2:$AA$1781</c:f>
              <c:numCache>
                <c:formatCode>m/d/yyyy</c:formatCode>
                <c:ptCount val="1780"/>
                <c:pt idx="0">
                  <c:v>44773</c:v>
                </c:pt>
                <c:pt idx="1">
                  <c:v>44766</c:v>
                </c:pt>
                <c:pt idx="2">
                  <c:v>44759</c:v>
                </c:pt>
                <c:pt idx="3">
                  <c:v>44752</c:v>
                </c:pt>
                <c:pt idx="4">
                  <c:v>44745</c:v>
                </c:pt>
                <c:pt idx="5">
                  <c:v>44738</c:v>
                </c:pt>
                <c:pt idx="6">
                  <c:v>44731</c:v>
                </c:pt>
                <c:pt idx="7">
                  <c:v>44724</c:v>
                </c:pt>
                <c:pt idx="8">
                  <c:v>44717</c:v>
                </c:pt>
                <c:pt idx="9">
                  <c:v>44710</c:v>
                </c:pt>
                <c:pt idx="10">
                  <c:v>44703</c:v>
                </c:pt>
                <c:pt idx="11">
                  <c:v>44696</c:v>
                </c:pt>
                <c:pt idx="12">
                  <c:v>44689</c:v>
                </c:pt>
                <c:pt idx="13">
                  <c:v>44682</c:v>
                </c:pt>
                <c:pt idx="14">
                  <c:v>44675</c:v>
                </c:pt>
                <c:pt idx="15">
                  <c:v>44668</c:v>
                </c:pt>
                <c:pt idx="16">
                  <c:v>44661</c:v>
                </c:pt>
                <c:pt idx="17">
                  <c:v>44654</c:v>
                </c:pt>
                <c:pt idx="18">
                  <c:v>44647</c:v>
                </c:pt>
                <c:pt idx="19">
                  <c:v>44640</c:v>
                </c:pt>
                <c:pt idx="20">
                  <c:v>44633</c:v>
                </c:pt>
                <c:pt idx="21">
                  <c:v>44626</c:v>
                </c:pt>
                <c:pt idx="22">
                  <c:v>44619</c:v>
                </c:pt>
                <c:pt idx="23">
                  <c:v>44612</c:v>
                </c:pt>
                <c:pt idx="24">
                  <c:v>44605</c:v>
                </c:pt>
                <c:pt idx="25">
                  <c:v>44598</c:v>
                </c:pt>
                <c:pt idx="26">
                  <c:v>44591</c:v>
                </c:pt>
                <c:pt idx="27">
                  <c:v>44584</c:v>
                </c:pt>
                <c:pt idx="28">
                  <c:v>44577</c:v>
                </c:pt>
                <c:pt idx="29">
                  <c:v>44570</c:v>
                </c:pt>
                <c:pt idx="30">
                  <c:v>44563</c:v>
                </c:pt>
                <c:pt idx="31">
                  <c:v>44556</c:v>
                </c:pt>
                <c:pt idx="32">
                  <c:v>44549</c:v>
                </c:pt>
                <c:pt idx="33">
                  <c:v>44542</c:v>
                </c:pt>
                <c:pt idx="34">
                  <c:v>44535</c:v>
                </c:pt>
                <c:pt idx="35">
                  <c:v>44528</c:v>
                </c:pt>
                <c:pt idx="36">
                  <c:v>44521</c:v>
                </c:pt>
                <c:pt idx="37">
                  <c:v>44514</c:v>
                </c:pt>
                <c:pt idx="38">
                  <c:v>44507</c:v>
                </c:pt>
                <c:pt idx="39">
                  <c:v>44500</c:v>
                </c:pt>
                <c:pt idx="40">
                  <c:v>44493</c:v>
                </c:pt>
                <c:pt idx="41">
                  <c:v>44486</c:v>
                </c:pt>
                <c:pt idx="42">
                  <c:v>44479</c:v>
                </c:pt>
                <c:pt idx="43">
                  <c:v>44472</c:v>
                </c:pt>
                <c:pt idx="44">
                  <c:v>44465</c:v>
                </c:pt>
                <c:pt idx="45">
                  <c:v>44458</c:v>
                </c:pt>
                <c:pt idx="46">
                  <c:v>44451</c:v>
                </c:pt>
                <c:pt idx="47">
                  <c:v>44444</c:v>
                </c:pt>
                <c:pt idx="48">
                  <c:v>44437</c:v>
                </c:pt>
                <c:pt idx="49">
                  <c:v>44430</c:v>
                </c:pt>
                <c:pt idx="50">
                  <c:v>44423</c:v>
                </c:pt>
                <c:pt idx="51">
                  <c:v>44416</c:v>
                </c:pt>
                <c:pt idx="52">
                  <c:v>44409</c:v>
                </c:pt>
                <c:pt idx="53">
                  <c:v>44402</c:v>
                </c:pt>
                <c:pt idx="54">
                  <c:v>44395</c:v>
                </c:pt>
                <c:pt idx="55">
                  <c:v>44388</c:v>
                </c:pt>
                <c:pt idx="56">
                  <c:v>44381</c:v>
                </c:pt>
                <c:pt idx="57">
                  <c:v>44374</c:v>
                </c:pt>
                <c:pt idx="58">
                  <c:v>44367</c:v>
                </c:pt>
                <c:pt idx="59">
                  <c:v>44360</c:v>
                </c:pt>
                <c:pt idx="60">
                  <c:v>44353</c:v>
                </c:pt>
                <c:pt idx="61">
                  <c:v>44346</c:v>
                </c:pt>
                <c:pt idx="62">
                  <c:v>44339</c:v>
                </c:pt>
                <c:pt idx="63">
                  <c:v>44332</c:v>
                </c:pt>
                <c:pt idx="64">
                  <c:v>44325</c:v>
                </c:pt>
                <c:pt idx="65">
                  <c:v>44318</c:v>
                </c:pt>
                <c:pt idx="66">
                  <c:v>44311</c:v>
                </c:pt>
                <c:pt idx="67">
                  <c:v>44304</c:v>
                </c:pt>
                <c:pt idx="68">
                  <c:v>44297</c:v>
                </c:pt>
                <c:pt idx="69">
                  <c:v>44290</c:v>
                </c:pt>
                <c:pt idx="70">
                  <c:v>44283</c:v>
                </c:pt>
                <c:pt idx="71">
                  <c:v>44276</c:v>
                </c:pt>
                <c:pt idx="72">
                  <c:v>44269</c:v>
                </c:pt>
                <c:pt idx="73">
                  <c:v>44262</c:v>
                </c:pt>
                <c:pt idx="74">
                  <c:v>44255</c:v>
                </c:pt>
                <c:pt idx="75">
                  <c:v>44248</c:v>
                </c:pt>
                <c:pt idx="76">
                  <c:v>44241</c:v>
                </c:pt>
                <c:pt idx="77">
                  <c:v>44234</c:v>
                </c:pt>
                <c:pt idx="78">
                  <c:v>44227</c:v>
                </c:pt>
                <c:pt idx="79">
                  <c:v>44220</c:v>
                </c:pt>
                <c:pt idx="80">
                  <c:v>44213</c:v>
                </c:pt>
                <c:pt idx="81">
                  <c:v>44206</c:v>
                </c:pt>
                <c:pt idx="82">
                  <c:v>44199</c:v>
                </c:pt>
                <c:pt idx="83">
                  <c:v>44192</c:v>
                </c:pt>
                <c:pt idx="84">
                  <c:v>44185</c:v>
                </c:pt>
                <c:pt idx="85">
                  <c:v>44178</c:v>
                </c:pt>
                <c:pt idx="86">
                  <c:v>44171</c:v>
                </c:pt>
                <c:pt idx="87">
                  <c:v>44164</c:v>
                </c:pt>
                <c:pt idx="88">
                  <c:v>44157</c:v>
                </c:pt>
                <c:pt idx="89">
                  <c:v>44150</c:v>
                </c:pt>
                <c:pt idx="90">
                  <c:v>44143</c:v>
                </c:pt>
                <c:pt idx="91">
                  <c:v>44136</c:v>
                </c:pt>
                <c:pt idx="92">
                  <c:v>44129</c:v>
                </c:pt>
                <c:pt idx="93">
                  <c:v>44122</c:v>
                </c:pt>
                <c:pt idx="94">
                  <c:v>44115</c:v>
                </c:pt>
                <c:pt idx="95">
                  <c:v>44108</c:v>
                </c:pt>
                <c:pt idx="96">
                  <c:v>44101</c:v>
                </c:pt>
                <c:pt idx="97">
                  <c:v>44094</c:v>
                </c:pt>
                <c:pt idx="98">
                  <c:v>44087</c:v>
                </c:pt>
                <c:pt idx="99">
                  <c:v>44080</c:v>
                </c:pt>
                <c:pt idx="100">
                  <c:v>44073</c:v>
                </c:pt>
                <c:pt idx="101">
                  <c:v>44066</c:v>
                </c:pt>
                <c:pt idx="102">
                  <c:v>44059</c:v>
                </c:pt>
                <c:pt idx="103">
                  <c:v>44052</c:v>
                </c:pt>
                <c:pt idx="104">
                  <c:v>44045</c:v>
                </c:pt>
                <c:pt idx="105">
                  <c:v>44038</c:v>
                </c:pt>
                <c:pt idx="106">
                  <c:v>44031</c:v>
                </c:pt>
                <c:pt idx="107">
                  <c:v>44024</c:v>
                </c:pt>
                <c:pt idx="108">
                  <c:v>44017</c:v>
                </c:pt>
                <c:pt idx="109">
                  <c:v>44010</c:v>
                </c:pt>
                <c:pt idx="110">
                  <c:v>44003</c:v>
                </c:pt>
                <c:pt idx="111">
                  <c:v>43996</c:v>
                </c:pt>
                <c:pt idx="112">
                  <c:v>43989</c:v>
                </c:pt>
                <c:pt idx="113">
                  <c:v>43982</c:v>
                </c:pt>
                <c:pt idx="114">
                  <c:v>43975</c:v>
                </c:pt>
                <c:pt idx="115">
                  <c:v>43968</c:v>
                </c:pt>
                <c:pt idx="116">
                  <c:v>43961</c:v>
                </c:pt>
                <c:pt idx="117">
                  <c:v>43954</c:v>
                </c:pt>
                <c:pt idx="118">
                  <c:v>43947</c:v>
                </c:pt>
                <c:pt idx="119">
                  <c:v>43940</c:v>
                </c:pt>
                <c:pt idx="120">
                  <c:v>43933</c:v>
                </c:pt>
                <c:pt idx="121">
                  <c:v>43926</c:v>
                </c:pt>
                <c:pt idx="122">
                  <c:v>43919</c:v>
                </c:pt>
                <c:pt idx="123">
                  <c:v>43912</c:v>
                </c:pt>
                <c:pt idx="124">
                  <c:v>43905</c:v>
                </c:pt>
                <c:pt idx="125">
                  <c:v>43898</c:v>
                </c:pt>
                <c:pt idx="126">
                  <c:v>43891</c:v>
                </c:pt>
                <c:pt idx="127">
                  <c:v>43884</c:v>
                </c:pt>
                <c:pt idx="128">
                  <c:v>43877</c:v>
                </c:pt>
                <c:pt idx="129">
                  <c:v>43870</c:v>
                </c:pt>
                <c:pt idx="130">
                  <c:v>43863</c:v>
                </c:pt>
                <c:pt idx="131">
                  <c:v>43856</c:v>
                </c:pt>
                <c:pt idx="132">
                  <c:v>43849</c:v>
                </c:pt>
                <c:pt idx="133">
                  <c:v>43842</c:v>
                </c:pt>
                <c:pt idx="134">
                  <c:v>43835</c:v>
                </c:pt>
                <c:pt idx="135">
                  <c:v>43828</c:v>
                </c:pt>
                <c:pt idx="136">
                  <c:v>43821</c:v>
                </c:pt>
                <c:pt idx="137">
                  <c:v>43814</c:v>
                </c:pt>
                <c:pt idx="138">
                  <c:v>43807</c:v>
                </c:pt>
                <c:pt idx="139">
                  <c:v>43800</c:v>
                </c:pt>
                <c:pt idx="140">
                  <c:v>43793</c:v>
                </c:pt>
                <c:pt idx="141">
                  <c:v>43786</c:v>
                </c:pt>
                <c:pt idx="142">
                  <c:v>43779</c:v>
                </c:pt>
                <c:pt idx="143">
                  <c:v>43772</c:v>
                </c:pt>
                <c:pt idx="144">
                  <c:v>43765</c:v>
                </c:pt>
                <c:pt idx="145">
                  <c:v>43758</c:v>
                </c:pt>
                <c:pt idx="146">
                  <c:v>43751</c:v>
                </c:pt>
                <c:pt idx="147">
                  <c:v>43744</c:v>
                </c:pt>
                <c:pt idx="148">
                  <c:v>43737</c:v>
                </c:pt>
                <c:pt idx="149">
                  <c:v>43730</c:v>
                </c:pt>
                <c:pt idx="150">
                  <c:v>43723</c:v>
                </c:pt>
                <c:pt idx="151">
                  <c:v>43716</c:v>
                </c:pt>
                <c:pt idx="152">
                  <c:v>43709</c:v>
                </c:pt>
                <c:pt idx="153">
                  <c:v>43702</c:v>
                </c:pt>
                <c:pt idx="154">
                  <c:v>43695</c:v>
                </c:pt>
                <c:pt idx="155">
                  <c:v>43688</c:v>
                </c:pt>
                <c:pt idx="156">
                  <c:v>43681</c:v>
                </c:pt>
                <c:pt idx="157">
                  <c:v>43674</c:v>
                </c:pt>
                <c:pt idx="158">
                  <c:v>43667</c:v>
                </c:pt>
                <c:pt idx="159">
                  <c:v>43660</c:v>
                </c:pt>
                <c:pt idx="160">
                  <c:v>43653</c:v>
                </c:pt>
                <c:pt idx="161">
                  <c:v>43646</c:v>
                </c:pt>
                <c:pt idx="162">
                  <c:v>43639</c:v>
                </c:pt>
                <c:pt idx="163">
                  <c:v>43632</c:v>
                </c:pt>
                <c:pt idx="164">
                  <c:v>43625</c:v>
                </c:pt>
                <c:pt idx="165">
                  <c:v>43618</c:v>
                </c:pt>
                <c:pt idx="166">
                  <c:v>43611</c:v>
                </c:pt>
                <c:pt idx="167">
                  <c:v>43604</c:v>
                </c:pt>
                <c:pt idx="168">
                  <c:v>43597</c:v>
                </c:pt>
                <c:pt idx="169">
                  <c:v>43590</c:v>
                </c:pt>
                <c:pt idx="170">
                  <c:v>43583</c:v>
                </c:pt>
                <c:pt idx="171">
                  <c:v>43576</c:v>
                </c:pt>
                <c:pt idx="172">
                  <c:v>43569</c:v>
                </c:pt>
                <c:pt idx="173">
                  <c:v>43562</c:v>
                </c:pt>
                <c:pt idx="174">
                  <c:v>43555</c:v>
                </c:pt>
                <c:pt idx="175">
                  <c:v>43548</c:v>
                </c:pt>
                <c:pt idx="176">
                  <c:v>43541</c:v>
                </c:pt>
                <c:pt idx="177">
                  <c:v>43534</c:v>
                </c:pt>
                <c:pt idx="178">
                  <c:v>43527</c:v>
                </c:pt>
                <c:pt idx="179">
                  <c:v>43520</c:v>
                </c:pt>
                <c:pt idx="180">
                  <c:v>43513</c:v>
                </c:pt>
                <c:pt idx="181">
                  <c:v>43506</c:v>
                </c:pt>
                <c:pt idx="182">
                  <c:v>43499</c:v>
                </c:pt>
                <c:pt idx="183">
                  <c:v>43492</c:v>
                </c:pt>
                <c:pt idx="184">
                  <c:v>43485</c:v>
                </c:pt>
                <c:pt idx="185">
                  <c:v>43478</c:v>
                </c:pt>
                <c:pt idx="186">
                  <c:v>43471</c:v>
                </c:pt>
                <c:pt idx="187">
                  <c:v>43464</c:v>
                </c:pt>
                <c:pt idx="188">
                  <c:v>43457</c:v>
                </c:pt>
                <c:pt idx="189">
                  <c:v>43450</c:v>
                </c:pt>
                <c:pt idx="190">
                  <c:v>43443</c:v>
                </c:pt>
                <c:pt idx="191">
                  <c:v>43436</c:v>
                </c:pt>
                <c:pt idx="192">
                  <c:v>43429</c:v>
                </c:pt>
                <c:pt idx="193">
                  <c:v>43422</c:v>
                </c:pt>
                <c:pt idx="194">
                  <c:v>43415</c:v>
                </c:pt>
                <c:pt idx="195">
                  <c:v>43408</c:v>
                </c:pt>
                <c:pt idx="196">
                  <c:v>43401</c:v>
                </c:pt>
                <c:pt idx="197">
                  <c:v>43394</c:v>
                </c:pt>
                <c:pt idx="198">
                  <c:v>43387</c:v>
                </c:pt>
                <c:pt idx="199">
                  <c:v>43380</c:v>
                </c:pt>
                <c:pt idx="200">
                  <c:v>43373</c:v>
                </c:pt>
                <c:pt idx="201">
                  <c:v>43366</c:v>
                </c:pt>
                <c:pt idx="202">
                  <c:v>43359</c:v>
                </c:pt>
                <c:pt idx="203">
                  <c:v>43352</c:v>
                </c:pt>
                <c:pt idx="204">
                  <c:v>43345</c:v>
                </c:pt>
                <c:pt idx="205">
                  <c:v>43338</c:v>
                </c:pt>
                <c:pt idx="206">
                  <c:v>43331</c:v>
                </c:pt>
                <c:pt idx="207">
                  <c:v>43324</c:v>
                </c:pt>
                <c:pt idx="208">
                  <c:v>43317</c:v>
                </c:pt>
                <c:pt idx="209">
                  <c:v>43310</c:v>
                </c:pt>
                <c:pt idx="210">
                  <c:v>43303</c:v>
                </c:pt>
                <c:pt idx="211">
                  <c:v>43296</c:v>
                </c:pt>
                <c:pt idx="212">
                  <c:v>43289</c:v>
                </c:pt>
                <c:pt idx="213">
                  <c:v>43282</c:v>
                </c:pt>
                <c:pt idx="214">
                  <c:v>43275</c:v>
                </c:pt>
                <c:pt idx="215">
                  <c:v>43268</c:v>
                </c:pt>
                <c:pt idx="216">
                  <c:v>43261</c:v>
                </c:pt>
                <c:pt idx="217">
                  <c:v>43254</c:v>
                </c:pt>
                <c:pt idx="218">
                  <c:v>43247</c:v>
                </c:pt>
                <c:pt idx="219">
                  <c:v>43240</c:v>
                </c:pt>
                <c:pt idx="220">
                  <c:v>43233</c:v>
                </c:pt>
                <c:pt idx="221">
                  <c:v>43226</c:v>
                </c:pt>
                <c:pt idx="222">
                  <c:v>43219</c:v>
                </c:pt>
                <c:pt idx="223">
                  <c:v>43212</c:v>
                </c:pt>
                <c:pt idx="224">
                  <c:v>43205</c:v>
                </c:pt>
                <c:pt idx="225">
                  <c:v>43198</c:v>
                </c:pt>
                <c:pt idx="226">
                  <c:v>43191</c:v>
                </c:pt>
                <c:pt idx="227">
                  <c:v>43184</c:v>
                </c:pt>
                <c:pt idx="228">
                  <c:v>43177</c:v>
                </c:pt>
                <c:pt idx="229">
                  <c:v>43170</c:v>
                </c:pt>
                <c:pt idx="230">
                  <c:v>43163</c:v>
                </c:pt>
                <c:pt idx="231">
                  <c:v>43156</c:v>
                </c:pt>
                <c:pt idx="232">
                  <c:v>43149</c:v>
                </c:pt>
                <c:pt idx="233">
                  <c:v>43142</c:v>
                </c:pt>
                <c:pt idx="234">
                  <c:v>43135</c:v>
                </c:pt>
                <c:pt idx="235">
                  <c:v>43128</c:v>
                </c:pt>
                <c:pt idx="236">
                  <c:v>43121</c:v>
                </c:pt>
                <c:pt idx="237">
                  <c:v>43114</c:v>
                </c:pt>
                <c:pt idx="238">
                  <c:v>43107</c:v>
                </c:pt>
                <c:pt idx="239">
                  <c:v>43100</c:v>
                </c:pt>
                <c:pt idx="240">
                  <c:v>43093</c:v>
                </c:pt>
                <c:pt idx="241">
                  <c:v>43086</c:v>
                </c:pt>
                <c:pt idx="242">
                  <c:v>43079</c:v>
                </c:pt>
                <c:pt idx="243">
                  <c:v>43072</c:v>
                </c:pt>
                <c:pt idx="244">
                  <c:v>43065</c:v>
                </c:pt>
                <c:pt idx="245">
                  <c:v>43058</c:v>
                </c:pt>
                <c:pt idx="246">
                  <c:v>43051</c:v>
                </c:pt>
                <c:pt idx="247">
                  <c:v>43044</c:v>
                </c:pt>
                <c:pt idx="248">
                  <c:v>43037</c:v>
                </c:pt>
                <c:pt idx="249">
                  <c:v>43030</c:v>
                </c:pt>
                <c:pt idx="250">
                  <c:v>43023</c:v>
                </c:pt>
                <c:pt idx="251">
                  <c:v>43016</c:v>
                </c:pt>
                <c:pt idx="252">
                  <c:v>43009</c:v>
                </c:pt>
                <c:pt idx="253">
                  <c:v>43002</c:v>
                </c:pt>
                <c:pt idx="254">
                  <c:v>42995</c:v>
                </c:pt>
                <c:pt idx="255">
                  <c:v>42988</c:v>
                </c:pt>
                <c:pt idx="256">
                  <c:v>42981</c:v>
                </c:pt>
                <c:pt idx="257">
                  <c:v>42974</c:v>
                </c:pt>
                <c:pt idx="258">
                  <c:v>42967</c:v>
                </c:pt>
                <c:pt idx="259">
                  <c:v>42960</c:v>
                </c:pt>
                <c:pt idx="260">
                  <c:v>42953</c:v>
                </c:pt>
                <c:pt idx="261">
                  <c:v>42946</c:v>
                </c:pt>
                <c:pt idx="262">
                  <c:v>42939</c:v>
                </c:pt>
                <c:pt idx="263">
                  <c:v>42932</c:v>
                </c:pt>
                <c:pt idx="264">
                  <c:v>42925</c:v>
                </c:pt>
                <c:pt idx="265">
                  <c:v>42918</c:v>
                </c:pt>
                <c:pt idx="266">
                  <c:v>42911</c:v>
                </c:pt>
                <c:pt idx="267">
                  <c:v>42904</c:v>
                </c:pt>
                <c:pt idx="268">
                  <c:v>42897</c:v>
                </c:pt>
                <c:pt idx="269">
                  <c:v>42890</c:v>
                </c:pt>
                <c:pt idx="270">
                  <c:v>42883</c:v>
                </c:pt>
                <c:pt idx="271">
                  <c:v>42876</c:v>
                </c:pt>
                <c:pt idx="272">
                  <c:v>42869</c:v>
                </c:pt>
                <c:pt idx="273">
                  <c:v>42862</c:v>
                </c:pt>
                <c:pt idx="274">
                  <c:v>42855</c:v>
                </c:pt>
                <c:pt idx="275">
                  <c:v>42848</c:v>
                </c:pt>
                <c:pt idx="276">
                  <c:v>42841</c:v>
                </c:pt>
                <c:pt idx="277">
                  <c:v>42834</c:v>
                </c:pt>
                <c:pt idx="278">
                  <c:v>42827</c:v>
                </c:pt>
                <c:pt idx="279">
                  <c:v>42820</c:v>
                </c:pt>
                <c:pt idx="280">
                  <c:v>42813</c:v>
                </c:pt>
                <c:pt idx="281">
                  <c:v>42806</c:v>
                </c:pt>
                <c:pt idx="282">
                  <c:v>42799</c:v>
                </c:pt>
                <c:pt idx="283">
                  <c:v>42792</c:v>
                </c:pt>
                <c:pt idx="284">
                  <c:v>42785</c:v>
                </c:pt>
                <c:pt idx="285">
                  <c:v>42778</c:v>
                </c:pt>
                <c:pt idx="286">
                  <c:v>42771</c:v>
                </c:pt>
                <c:pt idx="287">
                  <c:v>42764</c:v>
                </c:pt>
                <c:pt idx="288">
                  <c:v>42757</c:v>
                </c:pt>
                <c:pt idx="289">
                  <c:v>42750</c:v>
                </c:pt>
                <c:pt idx="290">
                  <c:v>42743</c:v>
                </c:pt>
                <c:pt idx="291">
                  <c:v>42736</c:v>
                </c:pt>
                <c:pt idx="292">
                  <c:v>42729</c:v>
                </c:pt>
                <c:pt idx="293">
                  <c:v>42722</c:v>
                </c:pt>
                <c:pt idx="294">
                  <c:v>42715</c:v>
                </c:pt>
                <c:pt idx="295">
                  <c:v>42708</c:v>
                </c:pt>
                <c:pt idx="296">
                  <c:v>42701</c:v>
                </c:pt>
                <c:pt idx="297">
                  <c:v>42694</c:v>
                </c:pt>
                <c:pt idx="298">
                  <c:v>42687</c:v>
                </c:pt>
                <c:pt idx="299">
                  <c:v>42680</c:v>
                </c:pt>
                <c:pt idx="300">
                  <c:v>42673</c:v>
                </c:pt>
                <c:pt idx="301">
                  <c:v>42666</c:v>
                </c:pt>
                <c:pt idx="302">
                  <c:v>42659</c:v>
                </c:pt>
                <c:pt idx="303">
                  <c:v>42652</c:v>
                </c:pt>
                <c:pt idx="304">
                  <c:v>42645</c:v>
                </c:pt>
                <c:pt idx="305">
                  <c:v>42638</c:v>
                </c:pt>
                <c:pt idx="306">
                  <c:v>42631</c:v>
                </c:pt>
                <c:pt idx="307">
                  <c:v>42624</c:v>
                </c:pt>
                <c:pt idx="308">
                  <c:v>42617</c:v>
                </c:pt>
                <c:pt idx="309">
                  <c:v>42610</c:v>
                </c:pt>
                <c:pt idx="310">
                  <c:v>42603</c:v>
                </c:pt>
                <c:pt idx="311">
                  <c:v>42596</c:v>
                </c:pt>
                <c:pt idx="312">
                  <c:v>42589</c:v>
                </c:pt>
                <c:pt idx="313">
                  <c:v>42582</c:v>
                </c:pt>
                <c:pt idx="314">
                  <c:v>42575</c:v>
                </c:pt>
                <c:pt idx="315">
                  <c:v>42568</c:v>
                </c:pt>
                <c:pt idx="316">
                  <c:v>42561</c:v>
                </c:pt>
                <c:pt idx="317">
                  <c:v>42554</c:v>
                </c:pt>
                <c:pt idx="318">
                  <c:v>42547</c:v>
                </c:pt>
                <c:pt idx="319">
                  <c:v>42540</c:v>
                </c:pt>
                <c:pt idx="320">
                  <c:v>42533</c:v>
                </c:pt>
                <c:pt idx="321">
                  <c:v>42526</c:v>
                </c:pt>
                <c:pt idx="322">
                  <c:v>42519</c:v>
                </c:pt>
                <c:pt idx="323">
                  <c:v>42512</c:v>
                </c:pt>
                <c:pt idx="324">
                  <c:v>42505</c:v>
                </c:pt>
                <c:pt idx="325">
                  <c:v>42498</c:v>
                </c:pt>
                <c:pt idx="326">
                  <c:v>42491</c:v>
                </c:pt>
                <c:pt idx="327">
                  <c:v>42484</c:v>
                </c:pt>
                <c:pt idx="328">
                  <c:v>42477</c:v>
                </c:pt>
                <c:pt idx="329">
                  <c:v>42470</c:v>
                </c:pt>
                <c:pt idx="330">
                  <c:v>42463</c:v>
                </c:pt>
                <c:pt idx="331">
                  <c:v>42456</c:v>
                </c:pt>
                <c:pt idx="332">
                  <c:v>42449</c:v>
                </c:pt>
                <c:pt idx="333">
                  <c:v>42442</c:v>
                </c:pt>
                <c:pt idx="334">
                  <c:v>42435</c:v>
                </c:pt>
                <c:pt idx="335">
                  <c:v>42428</c:v>
                </c:pt>
                <c:pt idx="336">
                  <c:v>42421</c:v>
                </c:pt>
                <c:pt idx="337">
                  <c:v>42414</c:v>
                </c:pt>
                <c:pt idx="338">
                  <c:v>42407</c:v>
                </c:pt>
                <c:pt idx="339">
                  <c:v>42400</c:v>
                </c:pt>
                <c:pt idx="340">
                  <c:v>42393</c:v>
                </c:pt>
                <c:pt idx="341">
                  <c:v>42386</c:v>
                </c:pt>
                <c:pt idx="342">
                  <c:v>42379</c:v>
                </c:pt>
                <c:pt idx="343">
                  <c:v>42372</c:v>
                </c:pt>
                <c:pt idx="344">
                  <c:v>42365</c:v>
                </c:pt>
                <c:pt idx="345">
                  <c:v>42358</c:v>
                </c:pt>
                <c:pt idx="346">
                  <c:v>42351</c:v>
                </c:pt>
                <c:pt idx="347">
                  <c:v>42344</c:v>
                </c:pt>
                <c:pt idx="348">
                  <c:v>42337</c:v>
                </c:pt>
                <c:pt idx="349">
                  <c:v>42330</c:v>
                </c:pt>
                <c:pt idx="350">
                  <c:v>42323</c:v>
                </c:pt>
                <c:pt idx="351">
                  <c:v>42316</c:v>
                </c:pt>
                <c:pt idx="352">
                  <c:v>42309</c:v>
                </c:pt>
                <c:pt idx="353">
                  <c:v>42302</c:v>
                </c:pt>
                <c:pt idx="354">
                  <c:v>42295</c:v>
                </c:pt>
                <c:pt idx="355">
                  <c:v>42288</c:v>
                </c:pt>
                <c:pt idx="356">
                  <c:v>42281</c:v>
                </c:pt>
                <c:pt idx="357">
                  <c:v>42274</c:v>
                </c:pt>
                <c:pt idx="358">
                  <c:v>42267</c:v>
                </c:pt>
                <c:pt idx="359">
                  <c:v>42260</c:v>
                </c:pt>
                <c:pt idx="360">
                  <c:v>42253</c:v>
                </c:pt>
                <c:pt idx="361">
                  <c:v>42246</c:v>
                </c:pt>
                <c:pt idx="362">
                  <c:v>42239</c:v>
                </c:pt>
                <c:pt idx="363">
                  <c:v>42232</c:v>
                </c:pt>
                <c:pt idx="364">
                  <c:v>42225</c:v>
                </c:pt>
                <c:pt idx="365">
                  <c:v>42218</c:v>
                </c:pt>
                <c:pt idx="366">
                  <c:v>42211</c:v>
                </c:pt>
                <c:pt idx="367">
                  <c:v>42204</c:v>
                </c:pt>
                <c:pt idx="368">
                  <c:v>42197</c:v>
                </c:pt>
                <c:pt idx="369">
                  <c:v>42190</c:v>
                </c:pt>
                <c:pt idx="370">
                  <c:v>42183</c:v>
                </c:pt>
                <c:pt idx="371">
                  <c:v>42176</c:v>
                </c:pt>
                <c:pt idx="372">
                  <c:v>42169</c:v>
                </c:pt>
                <c:pt idx="373">
                  <c:v>42162</c:v>
                </c:pt>
                <c:pt idx="374">
                  <c:v>42155</c:v>
                </c:pt>
                <c:pt idx="375">
                  <c:v>42148</c:v>
                </c:pt>
                <c:pt idx="376">
                  <c:v>42141</c:v>
                </c:pt>
                <c:pt idx="377">
                  <c:v>42134</c:v>
                </c:pt>
                <c:pt idx="378">
                  <c:v>42127</c:v>
                </c:pt>
                <c:pt idx="379">
                  <c:v>42120</c:v>
                </c:pt>
                <c:pt idx="380">
                  <c:v>42113</c:v>
                </c:pt>
                <c:pt idx="381">
                  <c:v>42106</c:v>
                </c:pt>
                <c:pt idx="382">
                  <c:v>42099</c:v>
                </c:pt>
                <c:pt idx="383">
                  <c:v>42092</c:v>
                </c:pt>
                <c:pt idx="384">
                  <c:v>42085</c:v>
                </c:pt>
                <c:pt idx="385">
                  <c:v>42078</c:v>
                </c:pt>
                <c:pt idx="386">
                  <c:v>42071</c:v>
                </c:pt>
                <c:pt idx="387">
                  <c:v>42064</c:v>
                </c:pt>
                <c:pt idx="388">
                  <c:v>42057</c:v>
                </c:pt>
                <c:pt idx="389">
                  <c:v>42050</c:v>
                </c:pt>
                <c:pt idx="390">
                  <c:v>42043</c:v>
                </c:pt>
                <c:pt idx="391">
                  <c:v>42036</c:v>
                </c:pt>
                <c:pt idx="392">
                  <c:v>42029</c:v>
                </c:pt>
                <c:pt idx="393">
                  <c:v>42022</c:v>
                </c:pt>
                <c:pt idx="394">
                  <c:v>42015</c:v>
                </c:pt>
                <c:pt idx="395">
                  <c:v>42008</c:v>
                </c:pt>
                <c:pt idx="396">
                  <c:v>42001</c:v>
                </c:pt>
                <c:pt idx="397">
                  <c:v>41994</c:v>
                </c:pt>
                <c:pt idx="398">
                  <c:v>41987</c:v>
                </c:pt>
                <c:pt idx="399">
                  <c:v>41980</c:v>
                </c:pt>
                <c:pt idx="400">
                  <c:v>41973</c:v>
                </c:pt>
                <c:pt idx="401">
                  <c:v>41966</c:v>
                </c:pt>
                <c:pt idx="402">
                  <c:v>41959</c:v>
                </c:pt>
                <c:pt idx="403">
                  <c:v>41952</c:v>
                </c:pt>
                <c:pt idx="404">
                  <c:v>41945</c:v>
                </c:pt>
                <c:pt idx="405">
                  <c:v>41938</c:v>
                </c:pt>
                <c:pt idx="406">
                  <c:v>41931</c:v>
                </c:pt>
                <c:pt idx="407">
                  <c:v>41924</c:v>
                </c:pt>
                <c:pt idx="408">
                  <c:v>41917</c:v>
                </c:pt>
                <c:pt idx="409">
                  <c:v>41910</c:v>
                </c:pt>
                <c:pt idx="410">
                  <c:v>41903</c:v>
                </c:pt>
                <c:pt idx="411">
                  <c:v>41896</c:v>
                </c:pt>
                <c:pt idx="412">
                  <c:v>41889</c:v>
                </c:pt>
                <c:pt idx="413">
                  <c:v>41882</c:v>
                </c:pt>
                <c:pt idx="414">
                  <c:v>41875</c:v>
                </c:pt>
                <c:pt idx="415">
                  <c:v>41868</c:v>
                </c:pt>
                <c:pt idx="416">
                  <c:v>41861</c:v>
                </c:pt>
                <c:pt idx="417">
                  <c:v>41854</c:v>
                </c:pt>
                <c:pt idx="418">
                  <c:v>41847</c:v>
                </c:pt>
                <c:pt idx="419">
                  <c:v>41840</c:v>
                </c:pt>
                <c:pt idx="420">
                  <c:v>41833</c:v>
                </c:pt>
                <c:pt idx="421">
                  <c:v>41826</c:v>
                </c:pt>
                <c:pt idx="422">
                  <c:v>41819</c:v>
                </c:pt>
                <c:pt idx="423">
                  <c:v>41812</c:v>
                </c:pt>
                <c:pt idx="424">
                  <c:v>41805</c:v>
                </c:pt>
                <c:pt idx="425">
                  <c:v>41798</c:v>
                </c:pt>
                <c:pt idx="426">
                  <c:v>41791</c:v>
                </c:pt>
                <c:pt idx="427">
                  <c:v>41784</c:v>
                </c:pt>
                <c:pt idx="428">
                  <c:v>41777</c:v>
                </c:pt>
                <c:pt idx="429">
                  <c:v>41770</c:v>
                </c:pt>
                <c:pt idx="430">
                  <c:v>41763</c:v>
                </c:pt>
                <c:pt idx="431">
                  <c:v>41756</c:v>
                </c:pt>
                <c:pt idx="432">
                  <c:v>41749</c:v>
                </c:pt>
                <c:pt idx="433">
                  <c:v>41742</c:v>
                </c:pt>
                <c:pt idx="434">
                  <c:v>41735</c:v>
                </c:pt>
                <c:pt idx="435">
                  <c:v>41728</c:v>
                </c:pt>
                <c:pt idx="436">
                  <c:v>41721</c:v>
                </c:pt>
                <c:pt idx="437">
                  <c:v>41714</c:v>
                </c:pt>
                <c:pt idx="438">
                  <c:v>41707</c:v>
                </c:pt>
                <c:pt idx="439">
                  <c:v>41700</c:v>
                </c:pt>
                <c:pt idx="440">
                  <c:v>41693</c:v>
                </c:pt>
                <c:pt idx="441">
                  <c:v>41686</c:v>
                </c:pt>
                <c:pt idx="442">
                  <c:v>41679</c:v>
                </c:pt>
                <c:pt idx="443">
                  <c:v>41672</c:v>
                </c:pt>
                <c:pt idx="444">
                  <c:v>41665</c:v>
                </c:pt>
                <c:pt idx="445">
                  <c:v>41658</c:v>
                </c:pt>
                <c:pt idx="446">
                  <c:v>41651</c:v>
                </c:pt>
                <c:pt idx="447">
                  <c:v>41644</c:v>
                </c:pt>
                <c:pt idx="448">
                  <c:v>41637</c:v>
                </c:pt>
                <c:pt idx="449">
                  <c:v>41630</c:v>
                </c:pt>
                <c:pt idx="450">
                  <c:v>41623</c:v>
                </c:pt>
                <c:pt idx="451">
                  <c:v>41616</c:v>
                </c:pt>
                <c:pt idx="452">
                  <c:v>41609</c:v>
                </c:pt>
                <c:pt idx="453">
                  <c:v>41602</c:v>
                </c:pt>
                <c:pt idx="454">
                  <c:v>41595</c:v>
                </c:pt>
                <c:pt idx="455">
                  <c:v>41588</c:v>
                </c:pt>
                <c:pt idx="456">
                  <c:v>41581</c:v>
                </c:pt>
                <c:pt idx="457">
                  <c:v>41574</c:v>
                </c:pt>
                <c:pt idx="458">
                  <c:v>41567</c:v>
                </c:pt>
                <c:pt idx="459">
                  <c:v>41560</c:v>
                </c:pt>
                <c:pt idx="460">
                  <c:v>41553</c:v>
                </c:pt>
                <c:pt idx="461">
                  <c:v>41546</c:v>
                </c:pt>
                <c:pt idx="462">
                  <c:v>41539</c:v>
                </c:pt>
                <c:pt idx="463">
                  <c:v>41532</c:v>
                </c:pt>
                <c:pt idx="464">
                  <c:v>41525</c:v>
                </c:pt>
                <c:pt idx="465">
                  <c:v>41518</c:v>
                </c:pt>
                <c:pt idx="466">
                  <c:v>41511</c:v>
                </c:pt>
                <c:pt idx="467">
                  <c:v>41504</c:v>
                </c:pt>
                <c:pt idx="468">
                  <c:v>41497</c:v>
                </c:pt>
                <c:pt idx="469">
                  <c:v>41490</c:v>
                </c:pt>
                <c:pt idx="470">
                  <c:v>41483</c:v>
                </c:pt>
                <c:pt idx="471">
                  <c:v>41476</c:v>
                </c:pt>
                <c:pt idx="472">
                  <c:v>41469</c:v>
                </c:pt>
                <c:pt idx="473">
                  <c:v>41462</c:v>
                </c:pt>
                <c:pt idx="474">
                  <c:v>41455</c:v>
                </c:pt>
                <c:pt idx="475">
                  <c:v>41448</c:v>
                </c:pt>
                <c:pt idx="476">
                  <c:v>41441</c:v>
                </c:pt>
                <c:pt idx="477">
                  <c:v>41434</c:v>
                </c:pt>
                <c:pt idx="478">
                  <c:v>41427</c:v>
                </c:pt>
                <c:pt idx="479">
                  <c:v>41420</c:v>
                </c:pt>
                <c:pt idx="480">
                  <c:v>41413</c:v>
                </c:pt>
                <c:pt idx="481">
                  <c:v>41406</c:v>
                </c:pt>
                <c:pt idx="482">
                  <c:v>41399</c:v>
                </c:pt>
                <c:pt idx="483">
                  <c:v>41392</c:v>
                </c:pt>
                <c:pt idx="484">
                  <c:v>41385</c:v>
                </c:pt>
                <c:pt idx="485">
                  <c:v>41378</c:v>
                </c:pt>
                <c:pt idx="486">
                  <c:v>41371</c:v>
                </c:pt>
                <c:pt idx="487">
                  <c:v>41364</c:v>
                </c:pt>
                <c:pt idx="488">
                  <c:v>41357</c:v>
                </c:pt>
                <c:pt idx="489">
                  <c:v>41350</c:v>
                </c:pt>
                <c:pt idx="490">
                  <c:v>41343</c:v>
                </c:pt>
                <c:pt idx="491">
                  <c:v>41336</c:v>
                </c:pt>
                <c:pt idx="492">
                  <c:v>41329</c:v>
                </c:pt>
                <c:pt idx="493">
                  <c:v>41322</c:v>
                </c:pt>
                <c:pt idx="494">
                  <c:v>41315</c:v>
                </c:pt>
                <c:pt idx="495">
                  <c:v>41308</c:v>
                </c:pt>
                <c:pt idx="496">
                  <c:v>41301</c:v>
                </c:pt>
                <c:pt idx="497">
                  <c:v>41294</c:v>
                </c:pt>
                <c:pt idx="498">
                  <c:v>41287</c:v>
                </c:pt>
                <c:pt idx="499">
                  <c:v>41280</c:v>
                </c:pt>
                <c:pt idx="500">
                  <c:v>41273</c:v>
                </c:pt>
                <c:pt idx="501">
                  <c:v>41266</c:v>
                </c:pt>
                <c:pt idx="502">
                  <c:v>41259</c:v>
                </c:pt>
                <c:pt idx="503">
                  <c:v>41252</c:v>
                </c:pt>
                <c:pt idx="504">
                  <c:v>41245</c:v>
                </c:pt>
                <c:pt idx="505">
                  <c:v>41238</c:v>
                </c:pt>
                <c:pt idx="506">
                  <c:v>41231</c:v>
                </c:pt>
                <c:pt idx="507">
                  <c:v>41224</c:v>
                </c:pt>
                <c:pt idx="508">
                  <c:v>41217</c:v>
                </c:pt>
                <c:pt idx="509">
                  <c:v>41210</c:v>
                </c:pt>
                <c:pt idx="510">
                  <c:v>41203</c:v>
                </c:pt>
                <c:pt idx="511">
                  <c:v>41196</c:v>
                </c:pt>
                <c:pt idx="512">
                  <c:v>41189</c:v>
                </c:pt>
                <c:pt idx="513">
                  <c:v>41182</c:v>
                </c:pt>
                <c:pt idx="514">
                  <c:v>41175</c:v>
                </c:pt>
                <c:pt idx="515">
                  <c:v>41168</c:v>
                </c:pt>
                <c:pt idx="516">
                  <c:v>41161</c:v>
                </c:pt>
                <c:pt idx="517">
                  <c:v>41154</c:v>
                </c:pt>
                <c:pt idx="518">
                  <c:v>41147</c:v>
                </c:pt>
                <c:pt idx="519">
                  <c:v>41140</c:v>
                </c:pt>
                <c:pt idx="520">
                  <c:v>41133</c:v>
                </c:pt>
                <c:pt idx="521">
                  <c:v>41126</c:v>
                </c:pt>
                <c:pt idx="522">
                  <c:v>41119</c:v>
                </c:pt>
                <c:pt idx="523">
                  <c:v>41112</c:v>
                </c:pt>
                <c:pt idx="524">
                  <c:v>41105</c:v>
                </c:pt>
                <c:pt idx="525">
                  <c:v>41098</c:v>
                </c:pt>
                <c:pt idx="526">
                  <c:v>41091</c:v>
                </c:pt>
                <c:pt idx="527">
                  <c:v>41084</c:v>
                </c:pt>
                <c:pt idx="528">
                  <c:v>41077</c:v>
                </c:pt>
                <c:pt idx="529">
                  <c:v>41070</c:v>
                </c:pt>
                <c:pt idx="530">
                  <c:v>41063</c:v>
                </c:pt>
                <c:pt idx="531">
                  <c:v>41056</c:v>
                </c:pt>
                <c:pt idx="532">
                  <c:v>41049</c:v>
                </c:pt>
                <c:pt idx="533">
                  <c:v>41042</c:v>
                </c:pt>
                <c:pt idx="534">
                  <c:v>41035</c:v>
                </c:pt>
                <c:pt idx="535">
                  <c:v>41028</c:v>
                </c:pt>
                <c:pt idx="536">
                  <c:v>41021</c:v>
                </c:pt>
                <c:pt idx="537">
                  <c:v>41014</c:v>
                </c:pt>
                <c:pt idx="538">
                  <c:v>41007</c:v>
                </c:pt>
                <c:pt idx="539">
                  <c:v>41000</c:v>
                </c:pt>
                <c:pt idx="540">
                  <c:v>40993</c:v>
                </c:pt>
                <c:pt idx="541">
                  <c:v>40986</c:v>
                </c:pt>
                <c:pt idx="542">
                  <c:v>40979</c:v>
                </c:pt>
                <c:pt idx="543">
                  <c:v>40972</c:v>
                </c:pt>
                <c:pt idx="544">
                  <c:v>40965</c:v>
                </c:pt>
                <c:pt idx="545">
                  <c:v>40958</c:v>
                </c:pt>
                <c:pt idx="546">
                  <c:v>40951</c:v>
                </c:pt>
                <c:pt idx="547">
                  <c:v>40944</c:v>
                </c:pt>
                <c:pt idx="548">
                  <c:v>40937</c:v>
                </c:pt>
                <c:pt idx="549">
                  <c:v>40930</c:v>
                </c:pt>
                <c:pt idx="550">
                  <c:v>40923</c:v>
                </c:pt>
                <c:pt idx="551">
                  <c:v>40916</c:v>
                </c:pt>
                <c:pt idx="552">
                  <c:v>40909</c:v>
                </c:pt>
                <c:pt idx="553">
                  <c:v>40902</c:v>
                </c:pt>
                <c:pt idx="554">
                  <c:v>40895</c:v>
                </c:pt>
                <c:pt idx="555">
                  <c:v>40888</c:v>
                </c:pt>
                <c:pt idx="556">
                  <c:v>40881</c:v>
                </c:pt>
                <c:pt idx="557">
                  <c:v>40874</c:v>
                </c:pt>
                <c:pt idx="558">
                  <c:v>40867</c:v>
                </c:pt>
                <c:pt idx="559">
                  <c:v>40860</c:v>
                </c:pt>
                <c:pt idx="560">
                  <c:v>40853</c:v>
                </c:pt>
                <c:pt idx="561">
                  <c:v>40846</c:v>
                </c:pt>
                <c:pt idx="562">
                  <c:v>40839</c:v>
                </c:pt>
                <c:pt idx="563">
                  <c:v>40832</c:v>
                </c:pt>
                <c:pt idx="564">
                  <c:v>40825</c:v>
                </c:pt>
                <c:pt idx="565">
                  <c:v>40818</c:v>
                </c:pt>
                <c:pt idx="566">
                  <c:v>40811</c:v>
                </c:pt>
                <c:pt idx="567">
                  <c:v>40804</c:v>
                </c:pt>
                <c:pt idx="568">
                  <c:v>40797</c:v>
                </c:pt>
                <c:pt idx="569">
                  <c:v>40790</c:v>
                </c:pt>
                <c:pt idx="570">
                  <c:v>40783</c:v>
                </c:pt>
                <c:pt idx="571">
                  <c:v>40776</c:v>
                </c:pt>
                <c:pt idx="572">
                  <c:v>40769</c:v>
                </c:pt>
                <c:pt idx="573">
                  <c:v>40762</c:v>
                </c:pt>
                <c:pt idx="574">
                  <c:v>40755</c:v>
                </c:pt>
                <c:pt idx="575">
                  <c:v>40748</c:v>
                </c:pt>
                <c:pt idx="576">
                  <c:v>40741</c:v>
                </c:pt>
                <c:pt idx="577">
                  <c:v>40734</c:v>
                </c:pt>
                <c:pt idx="578">
                  <c:v>40727</c:v>
                </c:pt>
                <c:pt idx="579">
                  <c:v>40720</c:v>
                </c:pt>
                <c:pt idx="580">
                  <c:v>40713</c:v>
                </c:pt>
                <c:pt idx="581">
                  <c:v>40706</c:v>
                </c:pt>
                <c:pt idx="582">
                  <c:v>40699</c:v>
                </c:pt>
                <c:pt idx="583">
                  <c:v>40692</c:v>
                </c:pt>
                <c:pt idx="584">
                  <c:v>40685</c:v>
                </c:pt>
                <c:pt idx="585">
                  <c:v>40678</c:v>
                </c:pt>
                <c:pt idx="586">
                  <c:v>40671</c:v>
                </c:pt>
                <c:pt idx="587">
                  <c:v>40664</c:v>
                </c:pt>
                <c:pt idx="588">
                  <c:v>40657</c:v>
                </c:pt>
                <c:pt idx="589">
                  <c:v>40650</c:v>
                </c:pt>
                <c:pt idx="590">
                  <c:v>40643</c:v>
                </c:pt>
                <c:pt idx="591">
                  <c:v>40636</c:v>
                </c:pt>
                <c:pt idx="592">
                  <c:v>40629</c:v>
                </c:pt>
                <c:pt idx="593">
                  <c:v>40622</c:v>
                </c:pt>
                <c:pt idx="594">
                  <c:v>40615</c:v>
                </c:pt>
                <c:pt idx="595">
                  <c:v>40608</c:v>
                </c:pt>
                <c:pt idx="596">
                  <c:v>40601</c:v>
                </c:pt>
                <c:pt idx="597">
                  <c:v>40594</c:v>
                </c:pt>
                <c:pt idx="598">
                  <c:v>40587</c:v>
                </c:pt>
                <c:pt idx="599">
                  <c:v>40580</c:v>
                </c:pt>
                <c:pt idx="600">
                  <c:v>40573</c:v>
                </c:pt>
                <c:pt idx="601">
                  <c:v>40566</c:v>
                </c:pt>
                <c:pt idx="602">
                  <c:v>40559</c:v>
                </c:pt>
                <c:pt idx="603">
                  <c:v>40552</c:v>
                </c:pt>
                <c:pt idx="604">
                  <c:v>40545</c:v>
                </c:pt>
                <c:pt idx="605">
                  <c:v>40538</c:v>
                </c:pt>
                <c:pt idx="606">
                  <c:v>40531</c:v>
                </c:pt>
                <c:pt idx="607">
                  <c:v>40524</c:v>
                </c:pt>
                <c:pt idx="608">
                  <c:v>40517</c:v>
                </c:pt>
                <c:pt idx="609">
                  <c:v>40510</c:v>
                </c:pt>
                <c:pt idx="610">
                  <c:v>40503</c:v>
                </c:pt>
                <c:pt idx="611">
                  <c:v>40496</c:v>
                </c:pt>
                <c:pt idx="612">
                  <c:v>40489</c:v>
                </c:pt>
                <c:pt idx="613">
                  <c:v>40482</c:v>
                </c:pt>
                <c:pt idx="614">
                  <c:v>40475</c:v>
                </c:pt>
                <c:pt idx="615">
                  <c:v>40468</c:v>
                </c:pt>
                <c:pt idx="616">
                  <c:v>40461</c:v>
                </c:pt>
                <c:pt idx="617">
                  <c:v>40454</c:v>
                </c:pt>
                <c:pt idx="618">
                  <c:v>40447</c:v>
                </c:pt>
                <c:pt idx="619">
                  <c:v>40440</c:v>
                </c:pt>
                <c:pt idx="620">
                  <c:v>40433</c:v>
                </c:pt>
                <c:pt idx="621">
                  <c:v>40426</c:v>
                </c:pt>
                <c:pt idx="622">
                  <c:v>40419</c:v>
                </c:pt>
                <c:pt idx="623">
                  <c:v>40412</c:v>
                </c:pt>
                <c:pt idx="624">
                  <c:v>40405</c:v>
                </c:pt>
                <c:pt idx="625">
                  <c:v>40398</c:v>
                </c:pt>
                <c:pt idx="626">
                  <c:v>40391</c:v>
                </c:pt>
                <c:pt idx="627">
                  <c:v>40384</c:v>
                </c:pt>
                <c:pt idx="628">
                  <c:v>40377</c:v>
                </c:pt>
                <c:pt idx="629">
                  <c:v>40370</c:v>
                </c:pt>
                <c:pt idx="630">
                  <c:v>40363</c:v>
                </c:pt>
                <c:pt idx="631">
                  <c:v>40356</c:v>
                </c:pt>
                <c:pt idx="632">
                  <c:v>40349</c:v>
                </c:pt>
                <c:pt idx="633">
                  <c:v>40342</c:v>
                </c:pt>
                <c:pt idx="634">
                  <c:v>40335</c:v>
                </c:pt>
                <c:pt idx="635">
                  <c:v>40328</c:v>
                </c:pt>
                <c:pt idx="636">
                  <c:v>40321</c:v>
                </c:pt>
                <c:pt idx="637">
                  <c:v>40314</c:v>
                </c:pt>
                <c:pt idx="638">
                  <c:v>40307</c:v>
                </c:pt>
                <c:pt idx="639">
                  <c:v>40300</c:v>
                </c:pt>
                <c:pt idx="640">
                  <c:v>40293</c:v>
                </c:pt>
                <c:pt idx="641">
                  <c:v>40286</c:v>
                </c:pt>
                <c:pt idx="642">
                  <c:v>40279</c:v>
                </c:pt>
                <c:pt idx="643">
                  <c:v>40272</c:v>
                </c:pt>
                <c:pt idx="644">
                  <c:v>40265</c:v>
                </c:pt>
                <c:pt idx="645">
                  <c:v>40258</c:v>
                </c:pt>
                <c:pt idx="646">
                  <c:v>40251</c:v>
                </c:pt>
                <c:pt idx="647">
                  <c:v>40244</c:v>
                </c:pt>
                <c:pt idx="648">
                  <c:v>40237</c:v>
                </c:pt>
                <c:pt idx="649">
                  <c:v>40230</c:v>
                </c:pt>
                <c:pt idx="650">
                  <c:v>40223</c:v>
                </c:pt>
                <c:pt idx="651">
                  <c:v>40216</c:v>
                </c:pt>
                <c:pt idx="652">
                  <c:v>40209</c:v>
                </c:pt>
                <c:pt idx="653">
                  <c:v>40202</c:v>
                </c:pt>
                <c:pt idx="654">
                  <c:v>40195</c:v>
                </c:pt>
                <c:pt idx="655">
                  <c:v>40188</c:v>
                </c:pt>
                <c:pt idx="656">
                  <c:v>40181</c:v>
                </c:pt>
                <c:pt idx="657">
                  <c:v>40174</c:v>
                </c:pt>
                <c:pt idx="658">
                  <c:v>40167</c:v>
                </c:pt>
                <c:pt idx="659">
                  <c:v>40160</c:v>
                </c:pt>
                <c:pt idx="660">
                  <c:v>40153</c:v>
                </c:pt>
                <c:pt idx="661">
                  <c:v>40146</c:v>
                </c:pt>
                <c:pt idx="662">
                  <c:v>40139</c:v>
                </c:pt>
                <c:pt idx="663">
                  <c:v>40132</c:v>
                </c:pt>
                <c:pt idx="664">
                  <c:v>40125</c:v>
                </c:pt>
                <c:pt idx="665">
                  <c:v>40118</c:v>
                </c:pt>
                <c:pt idx="666">
                  <c:v>40111</c:v>
                </c:pt>
                <c:pt idx="667">
                  <c:v>40104</c:v>
                </c:pt>
                <c:pt idx="668">
                  <c:v>40097</c:v>
                </c:pt>
                <c:pt idx="669">
                  <c:v>40090</c:v>
                </c:pt>
                <c:pt idx="670">
                  <c:v>40083</c:v>
                </c:pt>
                <c:pt idx="671">
                  <c:v>40076</c:v>
                </c:pt>
                <c:pt idx="672">
                  <c:v>40069</c:v>
                </c:pt>
                <c:pt idx="673">
                  <c:v>40062</c:v>
                </c:pt>
                <c:pt idx="674">
                  <c:v>40055</c:v>
                </c:pt>
                <c:pt idx="675">
                  <c:v>40048</c:v>
                </c:pt>
                <c:pt idx="676">
                  <c:v>40041</c:v>
                </c:pt>
                <c:pt idx="677">
                  <c:v>40034</c:v>
                </c:pt>
                <c:pt idx="678">
                  <c:v>40027</c:v>
                </c:pt>
                <c:pt idx="679">
                  <c:v>40020</c:v>
                </c:pt>
                <c:pt idx="680">
                  <c:v>40013</c:v>
                </c:pt>
                <c:pt idx="681">
                  <c:v>40006</c:v>
                </c:pt>
                <c:pt idx="682">
                  <c:v>39999</c:v>
                </c:pt>
                <c:pt idx="683">
                  <c:v>39992</c:v>
                </c:pt>
                <c:pt idx="684">
                  <c:v>39985</c:v>
                </c:pt>
                <c:pt idx="685">
                  <c:v>39978</c:v>
                </c:pt>
                <c:pt idx="686">
                  <c:v>39971</c:v>
                </c:pt>
                <c:pt idx="687">
                  <c:v>39964</c:v>
                </c:pt>
                <c:pt idx="688">
                  <c:v>39957</c:v>
                </c:pt>
                <c:pt idx="689">
                  <c:v>39950</c:v>
                </c:pt>
                <c:pt idx="690">
                  <c:v>39943</c:v>
                </c:pt>
                <c:pt idx="691">
                  <c:v>39936</c:v>
                </c:pt>
                <c:pt idx="692">
                  <c:v>39929</c:v>
                </c:pt>
                <c:pt idx="693">
                  <c:v>39922</c:v>
                </c:pt>
                <c:pt idx="694">
                  <c:v>39915</c:v>
                </c:pt>
                <c:pt idx="695">
                  <c:v>39908</c:v>
                </c:pt>
                <c:pt idx="696">
                  <c:v>39901</c:v>
                </c:pt>
                <c:pt idx="697">
                  <c:v>39894</c:v>
                </c:pt>
                <c:pt idx="698">
                  <c:v>39887</c:v>
                </c:pt>
                <c:pt idx="699">
                  <c:v>39880</c:v>
                </c:pt>
                <c:pt idx="700">
                  <c:v>39873</c:v>
                </c:pt>
                <c:pt idx="701">
                  <c:v>39866</c:v>
                </c:pt>
                <c:pt idx="702">
                  <c:v>39859</c:v>
                </c:pt>
                <c:pt idx="703">
                  <c:v>39852</c:v>
                </c:pt>
                <c:pt idx="704">
                  <c:v>39845</c:v>
                </c:pt>
                <c:pt idx="705">
                  <c:v>39838</c:v>
                </c:pt>
                <c:pt idx="706">
                  <c:v>39831</c:v>
                </c:pt>
                <c:pt idx="707">
                  <c:v>39824</c:v>
                </c:pt>
                <c:pt idx="708">
                  <c:v>39817</c:v>
                </c:pt>
                <c:pt idx="709">
                  <c:v>39810</c:v>
                </c:pt>
                <c:pt idx="710">
                  <c:v>39803</c:v>
                </c:pt>
                <c:pt idx="711">
                  <c:v>39796</c:v>
                </c:pt>
                <c:pt idx="712">
                  <c:v>39789</c:v>
                </c:pt>
                <c:pt idx="713">
                  <c:v>39782</c:v>
                </c:pt>
                <c:pt idx="714">
                  <c:v>39775</c:v>
                </c:pt>
                <c:pt idx="715">
                  <c:v>39768</c:v>
                </c:pt>
                <c:pt idx="716">
                  <c:v>39761</c:v>
                </c:pt>
                <c:pt idx="717">
                  <c:v>39754</c:v>
                </c:pt>
                <c:pt idx="718">
                  <c:v>39747</c:v>
                </c:pt>
                <c:pt idx="719">
                  <c:v>39740</c:v>
                </c:pt>
                <c:pt idx="720">
                  <c:v>39733</c:v>
                </c:pt>
                <c:pt idx="721">
                  <c:v>39726</c:v>
                </c:pt>
                <c:pt idx="722">
                  <c:v>39719</c:v>
                </c:pt>
                <c:pt idx="723">
                  <c:v>39712</c:v>
                </c:pt>
                <c:pt idx="724">
                  <c:v>39705</c:v>
                </c:pt>
                <c:pt idx="725">
                  <c:v>39698</c:v>
                </c:pt>
                <c:pt idx="726">
                  <c:v>39691</c:v>
                </c:pt>
                <c:pt idx="727">
                  <c:v>39684</c:v>
                </c:pt>
                <c:pt idx="728">
                  <c:v>39677</c:v>
                </c:pt>
                <c:pt idx="729">
                  <c:v>39670</c:v>
                </c:pt>
                <c:pt idx="730">
                  <c:v>39663</c:v>
                </c:pt>
                <c:pt idx="731">
                  <c:v>39656</c:v>
                </c:pt>
                <c:pt idx="732">
                  <c:v>39649</c:v>
                </c:pt>
                <c:pt idx="733">
                  <c:v>39642</c:v>
                </c:pt>
                <c:pt idx="734">
                  <c:v>39635</c:v>
                </c:pt>
                <c:pt idx="735">
                  <c:v>39628</c:v>
                </c:pt>
                <c:pt idx="736">
                  <c:v>39621</c:v>
                </c:pt>
                <c:pt idx="737">
                  <c:v>39614</c:v>
                </c:pt>
                <c:pt idx="738">
                  <c:v>39607</c:v>
                </c:pt>
                <c:pt idx="739">
                  <c:v>39600</c:v>
                </c:pt>
                <c:pt idx="740">
                  <c:v>39593</c:v>
                </c:pt>
                <c:pt idx="741">
                  <c:v>39586</c:v>
                </c:pt>
                <c:pt idx="742">
                  <c:v>39579</c:v>
                </c:pt>
                <c:pt idx="743">
                  <c:v>39572</c:v>
                </c:pt>
                <c:pt idx="744">
                  <c:v>39565</c:v>
                </c:pt>
                <c:pt idx="745">
                  <c:v>39558</c:v>
                </c:pt>
                <c:pt idx="746">
                  <c:v>39551</c:v>
                </c:pt>
                <c:pt idx="747">
                  <c:v>39544</c:v>
                </c:pt>
                <c:pt idx="748">
                  <c:v>39537</c:v>
                </c:pt>
                <c:pt idx="749">
                  <c:v>39530</c:v>
                </c:pt>
                <c:pt idx="750">
                  <c:v>39523</c:v>
                </c:pt>
                <c:pt idx="751">
                  <c:v>39516</c:v>
                </c:pt>
                <c:pt idx="752">
                  <c:v>39509</c:v>
                </c:pt>
                <c:pt idx="753">
                  <c:v>39502</c:v>
                </c:pt>
                <c:pt idx="754">
                  <c:v>39495</c:v>
                </c:pt>
                <c:pt idx="755">
                  <c:v>39488</c:v>
                </c:pt>
                <c:pt idx="756">
                  <c:v>39481</c:v>
                </c:pt>
                <c:pt idx="757">
                  <c:v>39474</c:v>
                </c:pt>
                <c:pt idx="758">
                  <c:v>39467</c:v>
                </c:pt>
                <c:pt idx="759">
                  <c:v>39460</c:v>
                </c:pt>
                <c:pt idx="760">
                  <c:v>39453</c:v>
                </c:pt>
                <c:pt idx="761">
                  <c:v>39446</c:v>
                </c:pt>
                <c:pt idx="762">
                  <c:v>39439</c:v>
                </c:pt>
                <c:pt idx="763">
                  <c:v>39432</c:v>
                </c:pt>
                <c:pt idx="764">
                  <c:v>39425</c:v>
                </c:pt>
                <c:pt idx="765">
                  <c:v>39418</c:v>
                </c:pt>
                <c:pt idx="766">
                  <c:v>39411</c:v>
                </c:pt>
                <c:pt idx="767">
                  <c:v>39404</c:v>
                </c:pt>
                <c:pt idx="768">
                  <c:v>39397</c:v>
                </c:pt>
                <c:pt idx="769">
                  <c:v>39390</c:v>
                </c:pt>
                <c:pt idx="770">
                  <c:v>39383</c:v>
                </c:pt>
                <c:pt idx="771">
                  <c:v>39376</c:v>
                </c:pt>
                <c:pt idx="772">
                  <c:v>39369</c:v>
                </c:pt>
                <c:pt idx="773">
                  <c:v>39362</c:v>
                </c:pt>
                <c:pt idx="774">
                  <c:v>39355</c:v>
                </c:pt>
                <c:pt idx="775">
                  <c:v>39348</c:v>
                </c:pt>
                <c:pt idx="776">
                  <c:v>39341</c:v>
                </c:pt>
                <c:pt idx="777">
                  <c:v>39334</c:v>
                </c:pt>
                <c:pt idx="778">
                  <c:v>39327</c:v>
                </c:pt>
                <c:pt idx="779">
                  <c:v>39320</c:v>
                </c:pt>
                <c:pt idx="780">
                  <c:v>39313</c:v>
                </c:pt>
                <c:pt idx="781">
                  <c:v>39306</c:v>
                </c:pt>
                <c:pt idx="782">
                  <c:v>39299</c:v>
                </c:pt>
                <c:pt idx="783">
                  <c:v>39292</c:v>
                </c:pt>
                <c:pt idx="784">
                  <c:v>39285</c:v>
                </c:pt>
                <c:pt idx="785">
                  <c:v>39278</c:v>
                </c:pt>
                <c:pt idx="786">
                  <c:v>39271</c:v>
                </c:pt>
                <c:pt idx="787">
                  <c:v>39264</c:v>
                </c:pt>
                <c:pt idx="788">
                  <c:v>39257</c:v>
                </c:pt>
                <c:pt idx="789">
                  <c:v>39250</c:v>
                </c:pt>
                <c:pt idx="790">
                  <c:v>39243</c:v>
                </c:pt>
                <c:pt idx="791">
                  <c:v>39236</c:v>
                </c:pt>
                <c:pt idx="792">
                  <c:v>39229</c:v>
                </c:pt>
                <c:pt idx="793">
                  <c:v>39222</c:v>
                </c:pt>
                <c:pt idx="794">
                  <c:v>39215</c:v>
                </c:pt>
                <c:pt idx="795">
                  <c:v>39208</c:v>
                </c:pt>
                <c:pt idx="796">
                  <c:v>39201</c:v>
                </c:pt>
                <c:pt idx="797">
                  <c:v>39194</c:v>
                </c:pt>
                <c:pt idx="798">
                  <c:v>39187</c:v>
                </c:pt>
                <c:pt idx="799">
                  <c:v>39180</c:v>
                </c:pt>
                <c:pt idx="800">
                  <c:v>39173</c:v>
                </c:pt>
                <c:pt idx="801">
                  <c:v>39166</c:v>
                </c:pt>
                <c:pt idx="802">
                  <c:v>39159</c:v>
                </c:pt>
                <c:pt idx="803">
                  <c:v>39152</c:v>
                </c:pt>
                <c:pt idx="804">
                  <c:v>39145</c:v>
                </c:pt>
                <c:pt idx="805">
                  <c:v>39138</c:v>
                </c:pt>
                <c:pt idx="806">
                  <c:v>39131</c:v>
                </c:pt>
                <c:pt idx="807">
                  <c:v>39124</c:v>
                </c:pt>
                <c:pt idx="808">
                  <c:v>39117</c:v>
                </c:pt>
                <c:pt idx="809">
                  <c:v>39110</c:v>
                </c:pt>
                <c:pt idx="810">
                  <c:v>39103</c:v>
                </c:pt>
                <c:pt idx="811">
                  <c:v>39096</c:v>
                </c:pt>
                <c:pt idx="812">
                  <c:v>39089</c:v>
                </c:pt>
                <c:pt idx="813">
                  <c:v>39082</c:v>
                </c:pt>
                <c:pt idx="814">
                  <c:v>39075</c:v>
                </c:pt>
                <c:pt idx="815">
                  <c:v>39068</c:v>
                </c:pt>
                <c:pt idx="816">
                  <c:v>39061</c:v>
                </c:pt>
                <c:pt idx="817">
                  <c:v>39054</c:v>
                </c:pt>
                <c:pt idx="818">
                  <c:v>39047</c:v>
                </c:pt>
                <c:pt idx="819">
                  <c:v>39040</c:v>
                </c:pt>
                <c:pt idx="820">
                  <c:v>39033</c:v>
                </c:pt>
                <c:pt idx="821">
                  <c:v>39026</c:v>
                </c:pt>
                <c:pt idx="822">
                  <c:v>39019</c:v>
                </c:pt>
                <c:pt idx="823">
                  <c:v>39012</c:v>
                </c:pt>
                <c:pt idx="824">
                  <c:v>39005</c:v>
                </c:pt>
                <c:pt idx="825">
                  <c:v>38998</c:v>
                </c:pt>
                <c:pt idx="826">
                  <c:v>38991</c:v>
                </c:pt>
                <c:pt idx="827">
                  <c:v>38984</c:v>
                </c:pt>
                <c:pt idx="828">
                  <c:v>38977</c:v>
                </c:pt>
                <c:pt idx="829">
                  <c:v>38970</c:v>
                </c:pt>
                <c:pt idx="830">
                  <c:v>38963</c:v>
                </c:pt>
                <c:pt idx="831">
                  <c:v>38956</c:v>
                </c:pt>
                <c:pt idx="832">
                  <c:v>38949</c:v>
                </c:pt>
                <c:pt idx="833">
                  <c:v>38942</c:v>
                </c:pt>
                <c:pt idx="834">
                  <c:v>38935</c:v>
                </c:pt>
                <c:pt idx="835">
                  <c:v>38928</c:v>
                </c:pt>
                <c:pt idx="836">
                  <c:v>38921</c:v>
                </c:pt>
                <c:pt idx="837">
                  <c:v>38914</c:v>
                </c:pt>
                <c:pt idx="838">
                  <c:v>38907</c:v>
                </c:pt>
                <c:pt idx="839">
                  <c:v>38900</c:v>
                </c:pt>
                <c:pt idx="840">
                  <c:v>38893</c:v>
                </c:pt>
                <c:pt idx="841">
                  <c:v>38886</c:v>
                </c:pt>
                <c:pt idx="842">
                  <c:v>38879</c:v>
                </c:pt>
                <c:pt idx="843">
                  <c:v>38872</c:v>
                </c:pt>
                <c:pt idx="844">
                  <c:v>38865</c:v>
                </c:pt>
                <c:pt idx="845">
                  <c:v>38858</c:v>
                </c:pt>
                <c:pt idx="846">
                  <c:v>38851</c:v>
                </c:pt>
                <c:pt idx="847">
                  <c:v>38844</c:v>
                </c:pt>
                <c:pt idx="848">
                  <c:v>38837</c:v>
                </c:pt>
                <c:pt idx="849">
                  <c:v>38830</c:v>
                </c:pt>
                <c:pt idx="850">
                  <c:v>38823</c:v>
                </c:pt>
                <c:pt idx="851">
                  <c:v>38816</c:v>
                </c:pt>
                <c:pt idx="852">
                  <c:v>38809</c:v>
                </c:pt>
                <c:pt idx="853">
                  <c:v>38802</c:v>
                </c:pt>
                <c:pt idx="854">
                  <c:v>38795</c:v>
                </c:pt>
                <c:pt idx="855">
                  <c:v>38788</c:v>
                </c:pt>
                <c:pt idx="856">
                  <c:v>38781</c:v>
                </c:pt>
                <c:pt idx="857">
                  <c:v>38774</c:v>
                </c:pt>
                <c:pt idx="858">
                  <c:v>38767</c:v>
                </c:pt>
                <c:pt idx="859">
                  <c:v>38760</c:v>
                </c:pt>
                <c:pt idx="860">
                  <c:v>38753</c:v>
                </c:pt>
                <c:pt idx="861">
                  <c:v>38746</c:v>
                </c:pt>
                <c:pt idx="862">
                  <c:v>38739</c:v>
                </c:pt>
                <c:pt idx="863">
                  <c:v>38732</c:v>
                </c:pt>
                <c:pt idx="864">
                  <c:v>38725</c:v>
                </c:pt>
                <c:pt idx="865">
                  <c:v>38718</c:v>
                </c:pt>
                <c:pt idx="866">
                  <c:v>38711</c:v>
                </c:pt>
                <c:pt idx="867">
                  <c:v>38704</c:v>
                </c:pt>
                <c:pt idx="868">
                  <c:v>38697</c:v>
                </c:pt>
                <c:pt idx="869">
                  <c:v>38690</c:v>
                </c:pt>
                <c:pt idx="870">
                  <c:v>38683</c:v>
                </c:pt>
                <c:pt idx="871">
                  <c:v>38676</c:v>
                </c:pt>
                <c:pt idx="872">
                  <c:v>38669</c:v>
                </c:pt>
                <c:pt idx="873">
                  <c:v>38662</c:v>
                </c:pt>
                <c:pt idx="874">
                  <c:v>38655</c:v>
                </c:pt>
                <c:pt idx="875">
                  <c:v>38648</c:v>
                </c:pt>
                <c:pt idx="876">
                  <c:v>38641</c:v>
                </c:pt>
                <c:pt idx="877">
                  <c:v>38634</c:v>
                </c:pt>
                <c:pt idx="878">
                  <c:v>38627</c:v>
                </c:pt>
                <c:pt idx="879">
                  <c:v>38620</c:v>
                </c:pt>
                <c:pt idx="880">
                  <c:v>38613</c:v>
                </c:pt>
                <c:pt idx="881">
                  <c:v>38606</c:v>
                </c:pt>
                <c:pt idx="882">
                  <c:v>38599</c:v>
                </c:pt>
                <c:pt idx="883">
                  <c:v>38592</c:v>
                </c:pt>
                <c:pt idx="884">
                  <c:v>38585</c:v>
                </c:pt>
                <c:pt idx="885">
                  <c:v>38578</c:v>
                </c:pt>
                <c:pt idx="886">
                  <c:v>38571</c:v>
                </c:pt>
                <c:pt idx="887">
                  <c:v>38564</c:v>
                </c:pt>
                <c:pt idx="888">
                  <c:v>38557</c:v>
                </c:pt>
                <c:pt idx="889">
                  <c:v>38550</c:v>
                </c:pt>
                <c:pt idx="890">
                  <c:v>38543</c:v>
                </c:pt>
                <c:pt idx="891">
                  <c:v>38536</c:v>
                </c:pt>
                <c:pt idx="892">
                  <c:v>38529</c:v>
                </c:pt>
                <c:pt idx="893">
                  <c:v>38522</c:v>
                </c:pt>
                <c:pt idx="894">
                  <c:v>38515</c:v>
                </c:pt>
                <c:pt idx="895">
                  <c:v>38508</c:v>
                </c:pt>
                <c:pt idx="896">
                  <c:v>38501</c:v>
                </c:pt>
                <c:pt idx="897">
                  <c:v>38494</c:v>
                </c:pt>
                <c:pt idx="898">
                  <c:v>38487</c:v>
                </c:pt>
                <c:pt idx="899">
                  <c:v>38480</c:v>
                </c:pt>
                <c:pt idx="900">
                  <c:v>38473</c:v>
                </c:pt>
                <c:pt idx="901">
                  <c:v>38466</c:v>
                </c:pt>
                <c:pt idx="902">
                  <c:v>38459</c:v>
                </c:pt>
                <c:pt idx="903">
                  <c:v>38452</c:v>
                </c:pt>
                <c:pt idx="904">
                  <c:v>38445</c:v>
                </c:pt>
                <c:pt idx="905">
                  <c:v>38438</c:v>
                </c:pt>
                <c:pt idx="906">
                  <c:v>38431</c:v>
                </c:pt>
                <c:pt idx="907">
                  <c:v>38424</c:v>
                </c:pt>
                <c:pt idx="908">
                  <c:v>38417</c:v>
                </c:pt>
                <c:pt idx="909">
                  <c:v>38410</c:v>
                </c:pt>
                <c:pt idx="910">
                  <c:v>38403</c:v>
                </c:pt>
                <c:pt idx="911">
                  <c:v>38396</c:v>
                </c:pt>
                <c:pt idx="912">
                  <c:v>38389</c:v>
                </c:pt>
                <c:pt idx="913">
                  <c:v>38382</c:v>
                </c:pt>
                <c:pt idx="914">
                  <c:v>38375</c:v>
                </c:pt>
                <c:pt idx="915">
                  <c:v>38368</c:v>
                </c:pt>
                <c:pt idx="916">
                  <c:v>38361</c:v>
                </c:pt>
                <c:pt idx="917">
                  <c:v>38354</c:v>
                </c:pt>
                <c:pt idx="918">
                  <c:v>38347</c:v>
                </c:pt>
                <c:pt idx="919">
                  <c:v>38340</c:v>
                </c:pt>
                <c:pt idx="920">
                  <c:v>38333</c:v>
                </c:pt>
                <c:pt idx="921">
                  <c:v>38326</c:v>
                </c:pt>
                <c:pt idx="922">
                  <c:v>38319</c:v>
                </c:pt>
                <c:pt idx="923">
                  <c:v>38312</c:v>
                </c:pt>
                <c:pt idx="924">
                  <c:v>38305</c:v>
                </c:pt>
                <c:pt idx="925">
                  <c:v>38298</c:v>
                </c:pt>
                <c:pt idx="926">
                  <c:v>38291</c:v>
                </c:pt>
                <c:pt idx="927">
                  <c:v>38284</c:v>
                </c:pt>
                <c:pt idx="928">
                  <c:v>38277</c:v>
                </c:pt>
                <c:pt idx="929">
                  <c:v>38270</c:v>
                </c:pt>
                <c:pt idx="930">
                  <c:v>38263</c:v>
                </c:pt>
                <c:pt idx="931">
                  <c:v>38256</c:v>
                </c:pt>
                <c:pt idx="932">
                  <c:v>38249</c:v>
                </c:pt>
                <c:pt idx="933">
                  <c:v>38242</c:v>
                </c:pt>
                <c:pt idx="934">
                  <c:v>38235</c:v>
                </c:pt>
                <c:pt idx="935">
                  <c:v>38228</c:v>
                </c:pt>
                <c:pt idx="936">
                  <c:v>38221</c:v>
                </c:pt>
                <c:pt idx="937">
                  <c:v>38214</c:v>
                </c:pt>
                <c:pt idx="938">
                  <c:v>38207</c:v>
                </c:pt>
                <c:pt idx="939">
                  <c:v>38200</c:v>
                </c:pt>
                <c:pt idx="940">
                  <c:v>38193</c:v>
                </c:pt>
                <c:pt idx="941">
                  <c:v>38186</c:v>
                </c:pt>
                <c:pt idx="942">
                  <c:v>38179</c:v>
                </c:pt>
                <c:pt idx="943">
                  <c:v>38172</c:v>
                </c:pt>
                <c:pt idx="944">
                  <c:v>38165</c:v>
                </c:pt>
                <c:pt idx="945">
                  <c:v>38158</c:v>
                </c:pt>
                <c:pt idx="946">
                  <c:v>38151</c:v>
                </c:pt>
                <c:pt idx="947">
                  <c:v>38144</c:v>
                </c:pt>
                <c:pt idx="948">
                  <c:v>38137</c:v>
                </c:pt>
                <c:pt idx="949">
                  <c:v>38130</c:v>
                </c:pt>
                <c:pt idx="950">
                  <c:v>38123</c:v>
                </c:pt>
                <c:pt idx="951">
                  <c:v>38116</c:v>
                </c:pt>
                <c:pt idx="952">
                  <c:v>38109</c:v>
                </c:pt>
                <c:pt idx="953">
                  <c:v>38102</c:v>
                </c:pt>
                <c:pt idx="954">
                  <c:v>38095</c:v>
                </c:pt>
                <c:pt idx="955">
                  <c:v>38088</c:v>
                </c:pt>
                <c:pt idx="956">
                  <c:v>38081</c:v>
                </c:pt>
                <c:pt idx="957">
                  <c:v>38074</c:v>
                </c:pt>
                <c:pt idx="958">
                  <c:v>38067</c:v>
                </c:pt>
                <c:pt idx="959">
                  <c:v>38060</c:v>
                </c:pt>
                <c:pt idx="960">
                  <c:v>38053</c:v>
                </c:pt>
                <c:pt idx="961">
                  <c:v>38046</c:v>
                </c:pt>
                <c:pt idx="962">
                  <c:v>38039</c:v>
                </c:pt>
                <c:pt idx="963">
                  <c:v>38032</c:v>
                </c:pt>
                <c:pt idx="964">
                  <c:v>38025</c:v>
                </c:pt>
                <c:pt idx="965">
                  <c:v>38018</c:v>
                </c:pt>
                <c:pt idx="966">
                  <c:v>38011</c:v>
                </c:pt>
                <c:pt idx="967">
                  <c:v>38004</c:v>
                </c:pt>
                <c:pt idx="968">
                  <c:v>37997</c:v>
                </c:pt>
                <c:pt idx="969">
                  <c:v>37990</c:v>
                </c:pt>
                <c:pt idx="970">
                  <c:v>37983</c:v>
                </c:pt>
                <c:pt idx="971">
                  <c:v>37976</c:v>
                </c:pt>
                <c:pt idx="972">
                  <c:v>37969</c:v>
                </c:pt>
                <c:pt idx="973">
                  <c:v>37962</c:v>
                </c:pt>
                <c:pt idx="974">
                  <c:v>37955</c:v>
                </c:pt>
                <c:pt idx="975">
                  <c:v>37948</c:v>
                </c:pt>
                <c:pt idx="976">
                  <c:v>37941</c:v>
                </c:pt>
                <c:pt idx="977">
                  <c:v>37934</c:v>
                </c:pt>
                <c:pt idx="978">
                  <c:v>37927</c:v>
                </c:pt>
                <c:pt idx="979">
                  <c:v>37920</c:v>
                </c:pt>
                <c:pt idx="980">
                  <c:v>37913</c:v>
                </c:pt>
                <c:pt idx="981">
                  <c:v>37906</c:v>
                </c:pt>
                <c:pt idx="982">
                  <c:v>37899</c:v>
                </c:pt>
                <c:pt idx="983">
                  <c:v>37892</c:v>
                </c:pt>
                <c:pt idx="984">
                  <c:v>37885</c:v>
                </c:pt>
                <c:pt idx="985">
                  <c:v>37878</c:v>
                </c:pt>
                <c:pt idx="986">
                  <c:v>37871</c:v>
                </c:pt>
                <c:pt idx="987">
                  <c:v>37864</c:v>
                </c:pt>
                <c:pt idx="988">
                  <c:v>37857</c:v>
                </c:pt>
                <c:pt idx="989">
                  <c:v>37850</c:v>
                </c:pt>
                <c:pt idx="990">
                  <c:v>37843</c:v>
                </c:pt>
                <c:pt idx="991">
                  <c:v>37836</c:v>
                </c:pt>
                <c:pt idx="992">
                  <c:v>37829</c:v>
                </c:pt>
                <c:pt idx="993">
                  <c:v>37822</c:v>
                </c:pt>
                <c:pt idx="994">
                  <c:v>37815</c:v>
                </c:pt>
                <c:pt idx="995">
                  <c:v>37808</c:v>
                </c:pt>
                <c:pt idx="996">
                  <c:v>37801</c:v>
                </c:pt>
                <c:pt idx="997">
                  <c:v>37794</c:v>
                </c:pt>
                <c:pt idx="998">
                  <c:v>37787</c:v>
                </c:pt>
                <c:pt idx="999">
                  <c:v>37780</c:v>
                </c:pt>
                <c:pt idx="1000">
                  <c:v>37773</c:v>
                </c:pt>
                <c:pt idx="1001">
                  <c:v>37766</c:v>
                </c:pt>
                <c:pt idx="1002">
                  <c:v>37759</c:v>
                </c:pt>
                <c:pt idx="1003">
                  <c:v>37752</c:v>
                </c:pt>
                <c:pt idx="1004">
                  <c:v>37745</c:v>
                </c:pt>
                <c:pt idx="1005">
                  <c:v>37738</c:v>
                </c:pt>
                <c:pt idx="1006">
                  <c:v>37731</c:v>
                </c:pt>
                <c:pt idx="1007">
                  <c:v>37724</c:v>
                </c:pt>
                <c:pt idx="1008">
                  <c:v>37717</c:v>
                </c:pt>
                <c:pt idx="1009">
                  <c:v>37710</c:v>
                </c:pt>
                <c:pt idx="1010">
                  <c:v>37703</c:v>
                </c:pt>
                <c:pt idx="1011">
                  <c:v>37696</c:v>
                </c:pt>
                <c:pt idx="1012">
                  <c:v>37689</c:v>
                </c:pt>
                <c:pt idx="1013">
                  <c:v>37682</c:v>
                </c:pt>
                <c:pt idx="1014">
                  <c:v>37675</c:v>
                </c:pt>
                <c:pt idx="1015">
                  <c:v>37668</c:v>
                </c:pt>
                <c:pt idx="1016">
                  <c:v>37661</c:v>
                </c:pt>
                <c:pt idx="1017">
                  <c:v>37654</c:v>
                </c:pt>
                <c:pt idx="1018">
                  <c:v>37647</c:v>
                </c:pt>
                <c:pt idx="1019">
                  <c:v>37640</c:v>
                </c:pt>
                <c:pt idx="1020">
                  <c:v>37633</c:v>
                </c:pt>
                <c:pt idx="1021">
                  <c:v>37626</c:v>
                </c:pt>
                <c:pt idx="1022">
                  <c:v>37619</c:v>
                </c:pt>
                <c:pt idx="1023">
                  <c:v>37612</c:v>
                </c:pt>
                <c:pt idx="1024">
                  <c:v>37605</c:v>
                </c:pt>
                <c:pt idx="1025">
                  <c:v>37598</c:v>
                </c:pt>
                <c:pt idx="1026">
                  <c:v>37591</c:v>
                </c:pt>
                <c:pt idx="1027">
                  <c:v>37584</c:v>
                </c:pt>
                <c:pt idx="1028">
                  <c:v>37577</c:v>
                </c:pt>
                <c:pt idx="1029">
                  <c:v>37570</c:v>
                </c:pt>
                <c:pt idx="1030">
                  <c:v>37563</c:v>
                </c:pt>
                <c:pt idx="1031">
                  <c:v>37556</c:v>
                </c:pt>
                <c:pt idx="1032">
                  <c:v>37549</c:v>
                </c:pt>
                <c:pt idx="1033">
                  <c:v>37542</c:v>
                </c:pt>
                <c:pt idx="1034">
                  <c:v>37535</c:v>
                </c:pt>
                <c:pt idx="1035">
                  <c:v>37528</c:v>
                </c:pt>
                <c:pt idx="1036">
                  <c:v>37521</c:v>
                </c:pt>
                <c:pt idx="1037">
                  <c:v>37514</c:v>
                </c:pt>
                <c:pt idx="1038">
                  <c:v>37507</c:v>
                </c:pt>
                <c:pt idx="1039">
                  <c:v>37500</c:v>
                </c:pt>
                <c:pt idx="1040">
                  <c:v>37493</c:v>
                </c:pt>
                <c:pt idx="1041">
                  <c:v>37486</c:v>
                </c:pt>
                <c:pt idx="1042">
                  <c:v>37479</c:v>
                </c:pt>
                <c:pt idx="1043">
                  <c:v>37472</c:v>
                </c:pt>
                <c:pt idx="1044">
                  <c:v>37465</c:v>
                </c:pt>
                <c:pt idx="1045">
                  <c:v>37458</c:v>
                </c:pt>
                <c:pt idx="1046">
                  <c:v>37451</c:v>
                </c:pt>
                <c:pt idx="1047">
                  <c:v>37444</c:v>
                </c:pt>
                <c:pt idx="1048">
                  <c:v>37437</c:v>
                </c:pt>
                <c:pt idx="1049">
                  <c:v>37430</c:v>
                </c:pt>
                <c:pt idx="1050">
                  <c:v>37423</c:v>
                </c:pt>
                <c:pt idx="1051">
                  <c:v>37416</c:v>
                </c:pt>
                <c:pt idx="1052">
                  <c:v>37409</c:v>
                </c:pt>
                <c:pt idx="1053">
                  <c:v>37402</c:v>
                </c:pt>
                <c:pt idx="1054">
                  <c:v>37395</c:v>
                </c:pt>
                <c:pt idx="1055">
                  <c:v>37388</c:v>
                </c:pt>
                <c:pt idx="1056">
                  <c:v>37381</c:v>
                </c:pt>
                <c:pt idx="1057">
                  <c:v>37374</c:v>
                </c:pt>
                <c:pt idx="1058">
                  <c:v>37367</c:v>
                </c:pt>
                <c:pt idx="1059">
                  <c:v>37360</c:v>
                </c:pt>
                <c:pt idx="1060">
                  <c:v>37353</c:v>
                </c:pt>
                <c:pt idx="1061">
                  <c:v>37346</c:v>
                </c:pt>
                <c:pt idx="1062">
                  <c:v>37339</c:v>
                </c:pt>
                <c:pt idx="1063">
                  <c:v>37332</c:v>
                </c:pt>
                <c:pt idx="1064">
                  <c:v>37325</c:v>
                </c:pt>
                <c:pt idx="1065">
                  <c:v>37318</c:v>
                </c:pt>
                <c:pt idx="1066">
                  <c:v>37311</c:v>
                </c:pt>
                <c:pt idx="1067">
                  <c:v>37304</c:v>
                </c:pt>
                <c:pt idx="1068">
                  <c:v>37297</c:v>
                </c:pt>
                <c:pt idx="1069">
                  <c:v>37290</c:v>
                </c:pt>
                <c:pt idx="1070">
                  <c:v>37283</c:v>
                </c:pt>
                <c:pt idx="1071">
                  <c:v>37276</c:v>
                </c:pt>
                <c:pt idx="1072">
                  <c:v>37269</c:v>
                </c:pt>
                <c:pt idx="1073">
                  <c:v>37262</c:v>
                </c:pt>
                <c:pt idx="1074">
                  <c:v>37255</c:v>
                </c:pt>
                <c:pt idx="1075">
                  <c:v>37248</c:v>
                </c:pt>
                <c:pt idx="1076">
                  <c:v>37241</c:v>
                </c:pt>
                <c:pt idx="1077">
                  <c:v>37234</c:v>
                </c:pt>
                <c:pt idx="1078">
                  <c:v>37227</c:v>
                </c:pt>
                <c:pt idx="1079">
                  <c:v>37220</c:v>
                </c:pt>
                <c:pt idx="1080">
                  <c:v>37213</c:v>
                </c:pt>
                <c:pt idx="1081">
                  <c:v>37206</c:v>
                </c:pt>
                <c:pt idx="1082">
                  <c:v>37199</c:v>
                </c:pt>
                <c:pt idx="1083">
                  <c:v>37192</c:v>
                </c:pt>
                <c:pt idx="1084">
                  <c:v>37185</c:v>
                </c:pt>
                <c:pt idx="1085">
                  <c:v>37178</c:v>
                </c:pt>
                <c:pt idx="1086">
                  <c:v>37171</c:v>
                </c:pt>
                <c:pt idx="1087">
                  <c:v>37164</c:v>
                </c:pt>
                <c:pt idx="1088">
                  <c:v>37157</c:v>
                </c:pt>
                <c:pt idx="1089">
                  <c:v>37150</c:v>
                </c:pt>
                <c:pt idx="1090">
                  <c:v>37143</c:v>
                </c:pt>
                <c:pt idx="1091">
                  <c:v>37136</c:v>
                </c:pt>
                <c:pt idx="1092">
                  <c:v>37129</c:v>
                </c:pt>
                <c:pt idx="1093">
                  <c:v>37122</c:v>
                </c:pt>
                <c:pt idx="1094">
                  <c:v>37115</c:v>
                </c:pt>
                <c:pt idx="1095">
                  <c:v>37108</c:v>
                </c:pt>
                <c:pt idx="1096">
                  <c:v>37101</c:v>
                </c:pt>
                <c:pt idx="1097">
                  <c:v>37094</c:v>
                </c:pt>
                <c:pt idx="1098">
                  <c:v>37087</c:v>
                </c:pt>
                <c:pt idx="1099">
                  <c:v>37080</c:v>
                </c:pt>
                <c:pt idx="1100">
                  <c:v>37073</c:v>
                </c:pt>
                <c:pt idx="1101">
                  <c:v>37066</c:v>
                </c:pt>
                <c:pt idx="1102">
                  <c:v>37059</c:v>
                </c:pt>
                <c:pt idx="1103">
                  <c:v>37052</c:v>
                </c:pt>
                <c:pt idx="1104">
                  <c:v>37045</c:v>
                </c:pt>
                <c:pt idx="1105">
                  <c:v>37038</c:v>
                </c:pt>
                <c:pt idx="1106">
                  <c:v>37031</c:v>
                </c:pt>
                <c:pt idx="1107">
                  <c:v>37024</c:v>
                </c:pt>
                <c:pt idx="1108">
                  <c:v>37017</c:v>
                </c:pt>
                <c:pt idx="1109">
                  <c:v>37010</c:v>
                </c:pt>
                <c:pt idx="1110">
                  <c:v>37003</c:v>
                </c:pt>
                <c:pt idx="1111">
                  <c:v>36996</c:v>
                </c:pt>
                <c:pt idx="1112">
                  <c:v>36989</c:v>
                </c:pt>
                <c:pt idx="1113">
                  <c:v>36982</c:v>
                </c:pt>
                <c:pt idx="1114">
                  <c:v>36975</c:v>
                </c:pt>
                <c:pt idx="1115">
                  <c:v>36968</c:v>
                </c:pt>
                <c:pt idx="1116">
                  <c:v>36961</c:v>
                </c:pt>
                <c:pt idx="1117">
                  <c:v>36954</c:v>
                </c:pt>
                <c:pt idx="1118">
                  <c:v>36947</c:v>
                </c:pt>
                <c:pt idx="1119">
                  <c:v>36940</c:v>
                </c:pt>
                <c:pt idx="1120">
                  <c:v>36933</c:v>
                </c:pt>
                <c:pt idx="1121">
                  <c:v>36926</c:v>
                </c:pt>
                <c:pt idx="1122">
                  <c:v>36919</c:v>
                </c:pt>
                <c:pt idx="1123">
                  <c:v>36912</c:v>
                </c:pt>
                <c:pt idx="1124">
                  <c:v>36905</c:v>
                </c:pt>
                <c:pt idx="1125">
                  <c:v>36898</c:v>
                </c:pt>
                <c:pt idx="1126">
                  <c:v>36891</c:v>
                </c:pt>
                <c:pt idx="1127">
                  <c:v>36884</c:v>
                </c:pt>
                <c:pt idx="1128">
                  <c:v>36877</c:v>
                </c:pt>
                <c:pt idx="1129">
                  <c:v>36870</c:v>
                </c:pt>
                <c:pt idx="1130">
                  <c:v>36863</c:v>
                </c:pt>
                <c:pt idx="1131">
                  <c:v>36856</c:v>
                </c:pt>
                <c:pt idx="1132">
                  <c:v>36849</c:v>
                </c:pt>
                <c:pt idx="1133">
                  <c:v>36842</c:v>
                </c:pt>
                <c:pt idx="1134">
                  <c:v>36835</c:v>
                </c:pt>
                <c:pt idx="1135">
                  <c:v>36828</c:v>
                </c:pt>
                <c:pt idx="1136">
                  <c:v>36821</c:v>
                </c:pt>
                <c:pt idx="1137">
                  <c:v>36814</c:v>
                </c:pt>
                <c:pt idx="1138">
                  <c:v>36807</c:v>
                </c:pt>
                <c:pt idx="1139">
                  <c:v>36800</c:v>
                </c:pt>
                <c:pt idx="1140">
                  <c:v>36793</c:v>
                </c:pt>
                <c:pt idx="1141">
                  <c:v>36786</c:v>
                </c:pt>
                <c:pt idx="1142">
                  <c:v>36779</c:v>
                </c:pt>
                <c:pt idx="1143">
                  <c:v>36772</c:v>
                </c:pt>
                <c:pt idx="1144">
                  <c:v>36765</c:v>
                </c:pt>
                <c:pt idx="1145">
                  <c:v>36758</c:v>
                </c:pt>
                <c:pt idx="1146">
                  <c:v>36751</c:v>
                </c:pt>
                <c:pt idx="1147">
                  <c:v>36744</c:v>
                </c:pt>
                <c:pt idx="1148">
                  <c:v>36737</c:v>
                </c:pt>
                <c:pt idx="1149">
                  <c:v>36730</c:v>
                </c:pt>
                <c:pt idx="1150">
                  <c:v>36723</c:v>
                </c:pt>
                <c:pt idx="1151">
                  <c:v>36716</c:v>
                </c:pt>
                <c:pt idx="1152">
                  <c:v>36709</c:v>
                </c:pt>
                <c:pt idx="1153">
                  <c:v>36702</c:v>
                </c:pt>
                <c:pt idx="1154">
                  <c:v>36695</c:v>
                </c:pt>
                <c:pt idx="1155">
                  <c:v>36688</c:v>
                </c:pt>
                <c:pt idx="1156">
                  <c:v>36681</c:v>
                </c:pt>
                <c:pt idx="1157">
                  <c:v>36674</c:v>
                </c:pt>
                <c:pt idx="1158">
                  <c:v>36667</c:v>
                </c:pt>
                <c:pt idx="1159">
                  <c:v>36660</c:v>
                </c:pt>
                <c:pt idx="1160">
                  <c:v>36653</c:v>
                </c:pt>
                <c:pt idx="1161">
                  <c:v>36646</c:v>
                </c:pt>
                <c:pt idx="1162">
                  <c:v>36639</c:v>
                </c:pt>
                <c:pt idx="1163">
                  <c:v>36632</c:v>
                </c:pt>
                <c:pt idx="1164">
                  <c:v>36625</c:v>
                </c:pt>
                <c:pt idx="1165">
                  <c:v>36618</c:v>
                </c:pt>
                <c:pt idx="1166">
                  <c:v>36611</c:v>
                </c:pt>
                <c:pt idx="1167">
                  <c:v>36604</c:v>
                </c:pt>
                <c:pt idx="1168">
                  <c:v>36597</c:v>
                </c:pt>
                <c:pt idx="1169">
                  <c:v>36590</c:v>
                </c:pt>
                <c:pt idx="1170">
                  <c:v>36583</c:v>
                </c:pt>
                <c:pt idx="1171">
                  <c:v>36576</c:v>
                </c:pt>
                <c:pt idx="1172">
                  <c:v>36569</c:v>
                </c:pt>
                <c:pt idx="1173">
                  <c:v>36562</c:v>
                </c:pt>
                <c:pt idx="1174">
                  <c:v>36555</c:v>
                </c:pt>
                <c:pt idx="1175">
                  <c:v>36548</c:v>
                </c:pt>
                <c:pt idx="1176">
                  <c:v>36541</c:v>
                </c:pt>
                <c:pt idx="1177">
                  <c:v>36534</c:v>
                </c:pt>
                <c:pt idx="1178">
                  <c:v>36527</c:v>
                </c:pt>
                <c:pt idx="1179">
                  <c:v>36520</c:v>
                </c:pt>
                <c:pt idx="1180">
                  <c:v>36513</c:v>
                </c:pt>
                <c:pt idx="1181">
                  <c:v>36506</c:v>
                </c:pt>
                <c:pt idx="1182">
                  <c:v>36499</c:v>
                </c:pt>
                <c:pt idx="1183">
                  <c:v>36492</c:v>
                </c:pt>
                <c:pt idx="1184">
                  <c:v>36485</c:v>
                </c:pt>
                <c:pt idx="1185">
                  <c:v>36478</c:v>
                </c:pt>
                <c:pt idx="1186">
                  <c:v>36471</c:v>
                </c:pt>
                <c:pt idx="1187">
                  <c:v>36464</c:v>
                </c:pt>
                <c:pt idx="1188">
                  <c:v>36457</c:v>
                </c:pt>
                <c:pt idx="1189">
                  <c:v>36450</c:v>
                </c:pt>
                <c:pt idx="1190">
                  <c:v>36443</c:v>
                </c:pt>
                <c:pt idx="1191">
                  <c:v>36436</c:v>
                </c:pt>
                <c:pt idx="1192">
                  <c:v>36429</c:v>
                </c:pt>
                <c:pt idx="1193">
                  <c:v>36422</c:v>
                </c:pt>
                <c:pt idx="1194">
                  <c:v>36415</c:v>
                </c:pt>
                <c:pt idx="1195">
                  <c:v>36408</c:v>
                </c:pt>
                <c:pt idx="1196">
                  <c:v>36401</c:v>
                </c:pt>
                <c:pt idx="1197">
                  <c:v>36394</c:v>
                </c:pt>
                <c:pt idx="1198">
                  <c:v>36387</c:v>
                </c:pt>
                <c:pt idx="1199">
                  <c:v>36380</c:v>
                </c:pt>
                <c:pt idx="1200">
                  <c:v>36373</c:v>
                </c:pt>
                <c:pt idx="1201">
                  <c:v>36366</c:v>
                </c:pt>
                <c:pt idx="1202">
                  <c:v>36359</c:v>
                </c:pt>
                <c:pt idx="1203">
                  <c:v>36352</c:v>
                </c:pt>
                <c:pt idx="1204">
                  <c:v>36345</c:v>
                </c:pt>
                <c:pt idx="1205">
                  <c:v>36338</c:v>
                </c:pt>
                <c:pt idx="1206">
                  <c:v>36331</c:v>
                </c:pt>
                <c:pt idx="1207">
                  <c:v>36324</c:v>
                </c:pt>
                <c:pt idx="1208">
                  <c:v>36317</c:v>
                </c:pt>
                <c:pt idx="1209">
                  <c:v>36310</c:v>
                </c:pt>
                <c:pt idx="1210">
                  <c:v>36303</c:v>
                </c:pt>
                <c:pt idx="1211">
                  <c:v>36296</c:v>
                </c:pt>
                <c:pt idx="1212">
                  <c:v>36289</c:v>
                </c:pt>
                <c:pt idx="1213">
                  <c:v>36282</c:v>
                </c:pt>
                <c:pt idx="1214">
                  <c:v>36275</c:v>
                </c:pt>
                <c:pt idx="1215">
                  <c:v>36268</c:v>
                </c:pt>
                <c:pt idx="1216">
                  <c:v>36261</c:v>
                </c:pt>
                <c:pt idx="1217">
                  <c:v>36254</c:v>
                </c:pt>
                <c:pt idx="1218">
                  <c:v>36247</c:v>
                </c:pt>
                <c:pt idx="1219">
                  <c:v>36240</c:v>
                </c:pt>
                <c:pt idx="1220">
                  <c:v>36233</c:v>
                </c:pt>
                <c:pt idx="1221">
                  <c:v>36226</c:v>
                </c:pt>
                <c:pt idx="1222">
                  <c:v>36219</c:v>
                </c:pt>
                <c:pt idx="1223">
                  <c:v>36212</c:v>
                </c:pt>
                <c:pt idx="1224">
                  <c:v>36205</c:v>
                </c:pt>
                <c:pt idx="1225">
                  <c:v>36198</c:v>
                </c:pt>
                <c:pt idx="1226">
                  <c:v>36191</c:v>
                </c:pt>
                <c:pt idx="1227">
                  <c:v>36184</c:v>
                </c:pt>
                <c:pt idx="1228">
                  <c:v>36177</c:v>
                </c:pt>
                <c:pt idx="1229">
                  <c:v>36170</c:v>
                </c:pt>
                <c:pt idx="1230">
                  <c:v>36163</c:v>
                </c:pt>
                <c:pt idx="1231">
                  <c:v>36156</c:v>
                </c:pt>
                <c:pt idx="1232">
                  <c:v>36149</c:v>
                </c:pt>
                <c:pt idx="1233">
                  <c:v>36142</c:v>
                </c:pt>
                <c:pt idx="1234">
                  <c:v>36135</c:v>
                </c:pt>
                <c:pt idx="1235">
                  <c:v>36128</c:v>
                </c:pt>
                <c:pt idx="1236">
                  <c:v>36121</c:v>
                </c:pt>
                <c:pt idx="1237">
                  <c:v>36114</c:v>
                </c:pt>
                <c:pt idx="1238">
                  <c:v>36107</c:v>
                </c:pt>
                <c:pt idx="1239">
                  <c:v>36100</c:v>
                </c:pt>
                <c:pt idx="1240">
                  <c:v>36093</c:v>
                </c:pt>
                <c:pt idx="1241">
                  <c:v>36086</c:v>
                </c:pt>
                <c:pt idx="1242">
                  <c:v>36079</c:v>
                </c:pt>
                <c:pt idx="1243">
                  <c:v>36072</c:v>
                </c:pt>
                <c:pt idx="1244">
                  <c:v>36065</c:v>
                </c:pt>
                <c:pt idx="1245">
                  <c:v>36058</c:v>
                </c:pt>
                <c:pt idx="1246">
                  <c:v>36051</c:v>
                </c:pt>
                <c:pt idx="1247">
                  <c:v>36044</c:v>
                </c:pt>
                <c:pt idx="1248">
                  <c:v>36037</c:v>
                </c:pt>
                <c:pt idx="1249">
                  <c:v>36030</c:v>
                </c:pt>
                <c:pt idx="1250">
                  <c:v>36023</c:v>
                </c:pt>
                <c:pt idx="1251">
                  <c:v>36016</c:v>
                </c:pt>
                <c:pt idx="1252">
                  <c:v>36009</c:v>
                </c:pt>
                <c:pt idx="1253">
                  <c:v>36002</c:v>
                </c:pt>
                <c:pt idx="1254">
                  <c:v>35995</c:v>
                </c:pt>
                <c:pt idx="1255">
                  <c:v>35988</c:v>
                </c:pt>
                <c:pt idx="1256">
                  <c:v>35981</c:v>
                </c:pt>
                <c:pt idx="1257">
                  <c:v>35974</c:v>
                </c:pt>
                <c:pt idx="1258">
                  <c:v>35967</c:v>
                </c:pt>
                <c:pt idx="1259">
                  <c:v>35960</c:v>
                </c:pt>
                <c:pt idx="1260">
                  <c:v>35953</c:v>
                </c:pt>
                <c:pt idx="1261">
                  <c:v>35946</c:v>
                </c:pt>
                <c:pt idx="1262">
                  <c:v>35939</c:v>
                </c:pt>
                <c:pt idx="1263">
                  <c:v>35932</c:v>
                </c:pt>
                <c:pt idx="1264">
                  <c:v>35925</c:v>
                </c:pt>
                <c:pt idx="1265">
                  <c:v>35918</c:v>
                </c:pt>
                <c:pt idx="1266">
                  <c:v>35911</c:v>
                </c:pt>
                <c:pt idx="1267">
                  <c:v>35904</c:v>
                </c:pt>
                <c:pt idx="1268">
                  <c:v>35897</c:v>
                </c:pt>
                <c:pt idx="1269">
                  <c:v>35890</c:v>
                </c:pt>
                <c:pt idx="1270">
                  <c:v>35883</c:v>
                </c:pt>
                <c:pt idx="1271">
                  <c:v>35876</c:v>
                </c:pt>
                <c:pt idx="1272">
                  <c:v>35869</c:v>
                </c:pt>
                <c:pt idx="1273">
                  <c:v>35862</c:v>
                </c:pt>
                <c:pt idx="1274">
                  <c:v>35855</c:v>
                </c:pt>
                <c:pt idx="1275">
                  <c:v>35848</c:v>
                </c:pt>
                <c:pt idx="1276">
                  <c:v>35841</c:v>
                </c:pt>
                <c:pt idx="1277">
                  <c:v>35834</c:v>
                </c:pt>
                <c:pt idx="1278">
                  <c:v>35827</c:v>
                </c:pt>
                <c:pt idx="1279">
                  <c:v>35820</c:v>
                </c:pt>
                <c:pt idx="1280">
                  <c:v>35813</c:v>
                </c:pt>
                <c:pt idx="1281">
                  <c:v>35806</c:v>
                </c:pt>
                <c:pt idx="1282">
                  <c:v>35799</c:v>
                </c:pt>
                <c:pt idx="1283">
                  <c:v>35792</c:v>
                </c:pt>
                <c:pt idx="1284">
                  <c:v>35785</c:v>
                </c:pt>
                <c:pt idx="1285">
                  <c:v>35778</c:v>
                </c:pt>
                <c:pt idx="1286">
                  <c:v>35771</c:v>
                </c:pt>
                <c:pt idx="1287">
                  <c:v>35764</c:v>
                </c:pt>
                <c:pt idx="1288">
                  <c:v>35757</c:v>
                </c:pt>
                <c:pt idx="1289">
                  <c:v>35750</c:v>
                </c:pt>
                <c:pt idx="1290">
                  <c:v>35743</c:v>
                </c:pt>
                <c:pt idx="1291">
                  <c:v>35736</c:v>
                </c:pt>
                <c:pt idx="1292">
                  <c:v>35729</c:v>
                </c:pt>
                <c:pt idx="1293">
                  <c:v>35722</c:v>
                </c:pt>
                <c:pt idx="1294">
                  <c:v>35715</c:v>
                </c:pt>
                <c:pt idx="1295">
                  <c:v>35708</c:v>
                </c:pt>
                <c:pt idx="1296">
                  <c:v>35701</c:v>
                </c:pt>
                <c:pt idx="1297">
                  <c:v>35694</c:v>
                </c:pt>
                <c:pt idx="1298">
                  <c:v>35687</c:v>
                </c:pt>
                <c:pt idx="1299">
                  <c:v>35680</c:v>
                </c:pt>
                <c:pt idx="1300">
                  <c:v>35673</c:v>
                </c:pt>
                <c:pt idx="1301">
                  <c:v>35666</c:v>
                </c:pt>
                <c:pt idx="1302">
                  <c:v>35659</c:v>
                </c:pt>
                <c:pt idx="1303">
                  <c:v>35652</c:v>
                </c:pt>
                <c:pt idx="1304">
                  <c:v>35645</c:v>
                </c:pt>
                <c:pt idx="1305">
                  <c:v>35638</c:v>
                </c:pt>
                <c:pt idx="1306">
                  <c:v>35631</c:v>
                </c:pt>
                <c:pt idx="1307">
                  <c:v>35624</c:v>
                </c:pt>
                <c:pt idx="1308">
                  <c:v>35617</c:v>
                </c:pt>
                <c:pt idx="1309">
                  <c:v>35610</c:v>
                </c:pt>
                <c:pt idx="1310">
                  <c:v>35603</c:v>
                </c:pt>
                <c:pt idx="1311">
                  <c:v>35596</c:v>
                </c:pt>
                <c:pt idx="1312">
                  <c:v>35589</c:v>
                </c:pt>
                <c:pt idx="1313">
                  <c:v>35582</c:v>
                </c:pt>
                <c:pt idx="1314">
                  <c:v>35575</c:v>
                </c:pt>
                <c:pt idx="1315">
                  <c:v>35568</c:v>
                </c:pt>
                <c:pt idx="1316">
                  <c:v>35561</c:v>
                </c:pt>
                <c:pt idx="1317">
                  <c:v>35554</c:v>
                </c:pt>
                <c:pt idx="1318">
                  <c:v>35547</c:v>
                </c:pt>
                <c:pt idx="1319">
                  <c:v>35540</c:v>
                </c:pt>
                <c:pt idx="1320">
                  <c:v>35533</c:v>
                </c:pt>
                <c:pt idx="1321">
                  <c:v>35526</c:v>
                </c:pt>
                <c:pt idx="1322">
                  <c:v>35519</c:v>
                </c:pt>
                <c:pt idx="1323">
                  <c:v>35512</c:v>
                </c:pt>
                <c:pt idx="1324">
                  <c:v>35505</c:v>
                </c:pt>
                <c:pt idx="1325">
                  <c:v>35498</c:v>
                </c:pt>
                <c:pt idx="1326">
                  <c:v>35491</c:v>
                </c:pt>
                <c:pt idx="1327">
                  <c:v>35484</c:v>
                </c:pt>
                <c:pt idx="1328">
                  <c:v>35477</c:v>
                </c:pt>
                <c:pt idx="1329">
                  <c:v>35470</c:v>
                </c:pt>
                <c:pt idx="1330">
                  <c:v>35463</c:v>
                </c:pt>
                <c:pt idx="1331">
                  <c:v>35456</c:v>
                </c:pt>
                <c:pt idx="1332">
                  <c:v>35449</c:v>
                </c:pt>
                <c:pt idx="1333">
                  <c:v>35442</c:v>
                </c:pt>
                <c:pt idx="1334">
                  <c:v>35435</c:v>
                </c:pt>
                <c:pt idx="1335">
                  <c:v>35428</c:v>
                </c:pt>
                <c:pt idx="1336">
                  <c:v>35421</c:v>
                </c:pt>
                <c:pt idx="1337">
                  <c:v>35414</c:v>
                </c:pt>
                <c:pt idx="1338">
                  <c:v>35407</c:v>
                </c:pt>
                <c:pt idx="1339">
                  <c:v>35400</c:v>
                </c:pt>
                <c:pt idx="1340">
                  <c:v>35393</c:v>
                </c:pt>
                <c:pt idx="1341">
                  <c:v>35386</c:v>
                </c:pt>
                <c:pt idx="1342">
                  <c:v>35379</c:v>
                </c:pt>
                <c:pt idx="1343">
                  <c:v>35372</c:v>
                </c:pt>
                <c:pt idx="1344">
                  <c:v>35365</c:v>
                </c:pt>
                <c:pt idx="1345">
                  <c:v>35358</c:v>
                </c:pt>
                <c:pt idx="1346">
                  <c:v>35351</c:v>
                </c:pt>
                <c:pt idx="1347">
                  <c:v>35344</c:v>
                </c:pt>
                <c:pt idx="1348">
                  <c:v>35337</c:v>
                </c:pt>
                <c:pt idx="1349">
                  <c:v>35330</c:v>
                </c:pt>
                <c:pt idx="1350">
                  <c:v>35323</c:v>
                </c:pt>
                <c:pt idx="1351">
                  <c:v>35316</c:v>
                </c:pt>
                <c:pt idx="1352">
                  <c:v>35309</c:v>
                </c:pt>
                <c:pt idx="1353">
                  <c:v>35302</c:v>
                </c:pt>
                <c:pt idx="1354">
                  <c:v>35295</c:v>
                </c:pt>
                <c:pt idx="1355">
                  <c:v>35288</c:v>
                </c:pt>
                <c:pt idx="1356">
                  <c:v>35281</c:v>
                </c:pt>
                <c:pt idx="1357">
                  <c:v>35274</c:v>
                </c:pt>
                <c:pt idx="1358">
                  <c:v>35267</c:v>
                </c:pt>
                <c:pt idx="1359">
                  <c:v>35260</c:v>
                </c:pt>
                <c:pt idx="1360">
                  <c:v>35253</c:v>
                </c:pt>
                <c:pt idx="1361">
                  <c:v>35246</c:v>
                </c:pt>
                <c:pt idx="1362">
                  <c:v>35239</c:v>
                </c:pt>
                <c:pt idx="1363">
                  <c:v>35232</c:v>
                </c:pt>
                <c:pt idx="1364">
                  <c:v>35225</c:v>
                </c:pt>
                <c:pt idx="1365">
                  <c:v>35218</c:v>
                </c:pt>
                <c:pt idx="1366">
                  <c:v>35211</c:v>
                </c:pt>
                <c:pt idx="1367">
                  <c:v>35204</c:v>
                </c:pt>
                <c:pt idx="1368">
                  <c:v>35197</c:v>
                </c:pt>
                <c:pt idx="1369">
                  <c:v>35190</c:v>
                </c:pt>
                <c:pt idx="1370">
                  <c:v>35183</c:v>
                </c:pt>
                <c:pt idx="1371">
                  <c:v>35176</c:v>
                </c:pt>
                <c:pt idx="1372">
                  <c:v>35169</c:v>
                </c:pt>
                <c:pt idx="1373">
                  <c:v>35162</c:v>
                </c:pt>
                <c:pt idx="1374">
                  <c:v>35155</c:v>
                </c:pt>
                <c:pt idx="1375">
                  <c:v>35148</c:v>
                </c:pt>
                <c:pt idx="1376">
                  <c:v>35141</c:v>
                </c:pt>
                <c:pt idx="1377">
                  <c:v>35134</c:v>
                </c:pt>
                <c:pt idx="1378">
                  <c:v>35127</c:v>
                </c:pt>
                <c:pt idx="1379">
                  <c:v>35120</c:v>
                </c:pt>
                <c:pt idx="1380">
                  <c:v>35113</c:v>
                </c:pt>
                <c:pt idx="1381">
                  <c:v>35106</c:v>
                </c:pt>
                <c:pt idx="1382">
                  <c:v>35099</c:v>
                </c:pt>
                <c:pt idx="1383">
                  <c:v>35092</c:v>
                </c:pt>
                <c:pt idx="1384">
                  <c:v>35085</c:v>
                </c:pt>
                <c:pt idx="1385">
                  <c:v>35078</c:v>
                </c:pt>
                <c:pt idx="1386">
                  <c:v>35071</c:v>
                </c:pt>
                <c:pt idx="1387">
                  <c:v>35064</c:v>
                </c:pt>
                <c:pt idx="1388">
                  <c:v>35057</c:v>
                </c:pt>
                <c:pt idx="1389">
                  <c:v>35050</c:v>
                </c:pt>
                <c:pt idx="1390">
                  <c:v>35043</c:v>
                </c:pt>
                <c:pt idx="1391">
                  <c:v>35036</c:v>
                </c:pt>
                <c:pt idx="1392">
                  <c:v>35029</c:v>
                </c:pt>
                <c:pt idx="1393">
                  <c:v>35022</c:v>
                </c:pt>
                <c:pt idx="1394">
                  <c:v>35015</c:v>
                </c:pt>
                <c:pt idx="1395">
                  <c:v>35008</c:v>
                </c:pt>
                <c:pt idx="1396">
                  <c:v>35001</c:v>
                </c:pt>
                <c:pt idx="1397">
                  <c:v>34994</c:v>
                </c:pt>
                <c:pt idx="1398">
                  <c:v>34987</c:v>
                </c:pt>
                <c:pt idx="1399">
                  <c:v>34980</c:v>
                </c:pt>
                <c:pt idx="1400">
                  <c:v>34973</c:v>
                </c:pt>
                <c:pt idx="1401">
                  <c:v>34966</c:v>
                </c:pt>
                <c:pt idx="1402">
                  <c:v>34959</c:v>
                </c:pt>
                <c:pt idx="1403">
                  <c:v>34952</c:v>
                </c:pt>
                <c:pt idx="1404">
                  <c:v>34945</c:v>
                </c:pt>
                <c:pt idx="1405">
                  <c:v>34938</c:v>
                </c:pt>
                <c:pt idx="1406">
                  <c:v>34931</c:v>
                </c:pt>
                <c:pt idx="1407">
                  <c:v>34924</c:v>
                </c:pt>
                <c:pt idx="1408">
                  <c:v>34917</c:v>
                </c:pt>
                <c:pt idx="1409">
                  <c:v>34910</c:v>
                </c:pt>
                <c:pt idx="1410">
                  <c:v>34903</c:v>
                </c:pt>
                <c:pt idx="1411">
                  <c:v>34896</c:v>
                </c:pt>
                <c:pt idx="1412">
                  <c:v>34889</c:v>
                </c:pt>
                <c:pt idx="1413">
                  <c:v>34882</c:v>
                </c:pt>
                <c:pt idx="1414">
                  <c:v>34875</c:v>
                </c:pt>
                <c:pt idx="1415">
                  <c:v>34868</c:v>
                </c:pt>
                <c:pt idx="1416">
                  <c:v>34861</c:v>
                </c:pt>
                <c:pt idx="1417">
                  <c:v>34854</c:v>
                </c:pt>
                <c:pt idx="1418">
                  <c:v>34847</c:v>
                </c:pt>
                <c:pt idx="1419">
                  <c:v>34840</c:v>
                </c:pt>
                <c:pt idx="1420">
                  <c:v>34833</c:v>
                </c:pt>
                <c:pt idx="1421">
                  <c:v>34826</c:v>
                </c:pt>
                <c:pt idx="1422">
                  <c:v>34819</c:v>
                </c:pt>
                <c:pt idx="1423">
                  <c:v>34812</c:v>
                </c:pt>
                <c:pt idx="1424">
                  <c:v>34805</c:v>
                </c:pt>
                <c:pt idx="1425">
                  <c:v>34798</c:v>
                </c:pt>
                <c:pt idx="1426">
                  <c:v>34791</c:v>
                </c:pt>
                <c:pt idx="1427">
                  <c:v>34784</c:v>
                </c:pt>
                <c:pt idx="1428">
                  <c:v>34777</c:v>
                </c:pt>
                <c:pt idx="1429">
                  <c:v>34770</c:v>
                </c:pt>
                <c:pt idx="1430">
                  <c:v>34763</c:v>
                </c:pt>
                <c:pt idx="1431">
                  <c:v>34756</c:v>
                </c:pt>
                <c:pt idx="1432">
                  <c:v>34749</c:v>
                </c:pt>
                <c:pt idx="1433">
                  <c:v>34742</c:v>
                </c:pt>
                <c:pt idx="1434">
                  <c:v>34735</c:v>
                </c:pt>
                <c:pt idx="1435">
                  <c:v>34728</c:v>
                </c:pt>
                <c:pt idx="1436">
                  <c:v>34721</c:v>
                </c:pt>
                <c:pt idx="1437">
                  <c:v>34714</c:v>
                </c:pt>
                <c:pt idx="1438">
                  <c:v>34707</c:v>
                </c:pt>
                <c:pt idx="1439">
                  <c:v>34700</c:v>
                </c:pt>
                <c:pt idx="1440">
                  <c:v>34693</c:v>
                </c:pt>
                <c:pt idx="1441">
                  <c:v>34686</c:v>
                </c:pt>
                <c:pt idx="1442">
                  <c:v>34679</c:v>
                </c:pt>
                <c:pt idx="1443">
                  <c:v>34672</c:v>
                </c:pt>
                <c:pt idx="1444">
                  <c:v>34665</c:v>
                </c:pt>
                <c:pt idx="1445">
                  <c:v>34658</c:v>
                </c:pt>
                <c:pt idx="1446">
                  <c:v>34651</c:v>
                </c:pt>
                <c:pt idx="1447">
                  <c:v>34644</c:v>
                </c:pt>
                <c:pt idx="1448">
                  <c:v>34637</c:v>
                </c:pt>
                <c:pt idx="1449">
                  <c:v>34630</c:v>
                </c:pt>
                <c:pt idx="1450">
                  <c:v>34623</c:v>
                </c:pt>
                <c:pt idx="1451">
                  <c:v>34616</c:v>
                </c:pt>
                <c:pt idx="1452">
                  <c:v>34609</c:v>
                </c:pt>
                <c:pt idx="1453">
                  <c:v>34602</c:v>
                </c:pt>
                <c:pt idx="1454">
                  <c:v>34595</c:v>
                </c:pt>
                <c:pt idx="1455">
                  <c:v>34588</c:v>
                </c:pt>
                <c:pt idx="1456">
                  <c:v>34581</c:v>
                </c:pt>
                <c:pt idx="1457">
                  <c:v>34574</c:v>
                </c:pt>
                <c:pt idx="1458">
                  <c:v>34567</c:v>
                </c:pt>
                <c:pt idx="1459">
                  <c:v>34560</c:v>
                </c:pt>
                <c:pt idx="1460">
                  <c:v>34553</c:v>
                </c:pt>
                <c:pt idx="1461">
                  <c:v>34546</c:v>
                </c:pt>
                <c:pt idx="1462">
                  <c:v>34539</c:v>
                </c:pt>
                <c:pt idx="1463">
                  <c:v>34532</c:v>
                </c:pt>
                <c:pt idx="1464">
                  <c:v>34525</c:v>
                </c:pt>
                <c:pt idx="1465">
                  <c:v>34518</c:v>
                </c:pt>
                <c:pt idx="1466">
                  <c:v>34511</c:v>
                </c:pt>
                <c:pt idx="1467">
                  <c:v>34504</c:v>
                </c:pt>
                <c:pt idx="1468">
                  <c:v>34497</c:v>
                </c:pt>
                <c:pt idx="1469">
                  <c:v>34490</c:v>
                </c:pt>
                <c:pt idx="1470">
                  <c:v>34483</c:v>
                </c:pt>
                <c:pt idx="1471">
                  <c:v>34476</c:v>
                </c:pt>
                <c:pt idx="1472">
                  <c:v>34469</c:v>
                </c:pt>
                <c:pt idx="1473">
                  <c:v>34462</c:v>
                </c:pt>
                <c:pt idx="1474">
                  <c:v>34455</c:v>
                </c:pt>
                <c:pt idx="1475">
                  <c:v>34448</c:v>
                </c:pt>
                <c:pt idx="1476">
                  <c:v>34441</c:v>
                </c:pt>
                <c:pt idx="1477">
                  <c:v>34434</c:v>
                </c:pt>
                <c:pt idx="1478">
                  <c:v>34427</c:v>
                </c:pt>
                <c:pt idx="1479">
                  <c:v>34420</c:v>
                </c:pt>
                <c:pt idx="1480">
                  <c:v>34413</c:v>
                </c:pt>
                <c:pt idx="1481">
                  <c:v>34406</c:v>
                </c:pt>
                <c:pt idx="1482">
                  <c:v>34399</c:v>
                </c:pt>
                <c:pt idx="1483">
                  <c:v>34392</c:v>
                </c:pt>
                <c:pt idx="1484">
                  <c:v>34385</c:v>
                </c:pt>
                <c:pt idx="1485">
                  <c:v>34378</c:v>
                </c:pt>
                <c:pt idx="1486">
                  <c:v>34371</c:v>
                </c:pt>
                <c:pt idx="1487">
                  <c:v>34364</c:v>
                </c:pt>
                <c:pt idx="1488">
                  <c:v>34357</c:v>
                </c:pt>
                <c:pt idx="1489">
                  <c:v>34350</c:v>
                </c:pt>
                <c:pt idx="1490">
                  <c:v>34343</c:v>
                </c:pt>
                <c:pt idx="1491">
                  <c:v>34336</c:v>
                </c:pt>
                <c:pt idx="1492">
                  <c:v>34329</c:v>
                </c:pt>
                <c:pt idx="1493">
                  <c:v>34322</c:v>
                </c:pt>
                <c:pt idx="1494">
                  <c:v>34315</c:v>
                </c:pt>
                <c:pt idx="1495">
                  <c:v>34308</c:v>
                </c:pt>
                <c:pt idx="1496">
                  <c:v>34301</c:v>
                </c:pt>
                <c:pt idx="1497">
                  <c:v>34294</c:v>
                </c:pt>
                <c:pt idx="1498">
                  <c:v>34287</c:v>
                </c:pt>
                <c:pt idx="1499">
                  <c:v>34280</c:v>
                </c:pt>
                <c:pt idx="1500">
                  <c:v>34273</c:v>
                </c:pt>
                <c:pt idx="1501">
                  <c:v>34266</c:v>
                </c:pt>
                <c:pt idx="1502">
                  <c:v>34259</c:v>
                </c:pt>
                <c:pt idx="1503">
                  <c:v>34252</c:v>
                </c:pt>
                <c:pt idx="1504">
                  <c:v>34245</c:v>
                </c:pt>
                <c:pt idx="1505">
                  <c:v>34238</c:v>
                </c:pt>
                <c:pt idx="1506">
                  <c:v>34231</c:v>
                </c:pt>
                <c:pt idx="1507">
                  <c:v>34224</c:v>
                </c:pt>
                <c:pt idx="1508">
                  <c:v>34217</c:v>
                </c:pt>
                <c:pt idx="1509">
                  <c:v>34210</c:v>
                </c:pt>
                <c:pt idx="1510">
                  <c:v>34203</c:v>
                </c:pt>
                <c:pt idx="1511">
                  <c:v>34196</c:v>
                </c:pt>
                <c:pt idx="1512">
                  <c:v>34189</c:v>
                </c:pt>
                <c:pt idx="1513">
                  <c:v>34182</c:v>
                </c:pt>
                <c:pt idx="1514">
                  <c:v>34175</c:v>
                </c:pt>
                <c:pt idx="1515">
                  <c:v>34168</c:v>
                </c:pt>
                <c:pt idx="1516">
                  <c:v>34161</c:v>
                </c:pt>
                <c:pt idx="1517">
                  <c:v>34154</c:v>
                </c:pt>
                <c:pt idx="1518">
                  <c:v>34147</c:v>
                </c:pt>
                <c:pt idx="1519">
                  <c:v>34140</c:v>
                </c:pt>
                <c:pt idx="1520">
                  <c:v>34133</c:v>
                </c:pt>
                <c:pt idx="1521">
                  <c:v>34126</c:v>
                </c:pt>
                <c:pt idx="1522">
                  <c:v>34119</c:v>
                </c:pt>
                <c:pt idx="1523">
                  <c:v>34112</c:v>
                </c:pt>
                <c:pt idx="1524">
                  <c:v>34105</c:v>
                </c:pt>
                <c:pt idx="1525">
                  <c:v>34098</c:v>
                </c:pt>
                <c:pt idx="1526">
                  <c:v>34091</c:v>
                </c:pt>
                <c:pt idx="1527">
                  <c:v>34084</c:v>
                </c:pt>
                <c:pt idx="1528">
                  <c:v>34077</c:v>
                </c:pt>
                <c:pt idx="1529">
                  <c:v>34070</c:v>
                </c:pt>
                <c:pt idx="1530">
                  <c:v>34063</c:v>
                </c:pt>
                <c:pt idx="1531">
                  <c:v>34056</c:v>
                </c:pt>
                <c:pt idx="1532">
                  <c:v>34049</c:v>
                </c:pt>
                <c:pt idx="1533">
                  <c:v>34042</c:v>
                </c:pt>
                <c:pt idx="1534">
                  <c:v>34035</c:v>
                </c:pt>
                <c:pt idx="1535">
                  <c:v>34028</c:v>
                </c:pt>
                <c:pt idx="1536">
                  <c:v>34021</c:v>
                </c:pt>
                <c:pt idx="1537">
                  <c:v>34014</c:v>
                </c:pt>
                <c:pt idx="1538">
                  <c:v>34007</c:v>
                </c:pt>
                <c:pt idx="1539">
                  <c:v>34000</c:v>
                </c:pt>
                <c:pt idx="1540">
                  <c:v>33993</c:v>
                </c:pt>
                <c:pt idx="1541">
                  <c:v>33986</c:v>
                </c:pt>
                <c:pt idx="1542">
                  <c:v>33979</c:v>
                </c:pt>
                <c:pt idx="1543">
                  <c:v>33972</c:v>
                </c:pt>
                <c:pt idx="1544">
                  <c:v>33965</c:v>
                </c:pt>
                <c:pt idx="1545">
                  <c:v>33958</c:v>
                </c:pt>
                <c:pt idx="1546">
                  <c:v>33951</c:v>
                </c:pt>
                <c:pt idx="1547">
                  <c:v>33944</c:v>
                </c:pt>
                <c:pt idx="1548">
                  <c:v>33937</c:v>
                </c:pt>
                <c:pt idx="1549">
                  <c:v>33930</c:v>
                </c:pt>
                <c:pt idx="1550">
                  <c:v>33923</c:v>
                </c:pt>
                <c:pt idx="1551">
                  <c:v>33916</c:v>
                </c:pt>
                <c:pt idx="1552">
                  <c:v>33909</c:v>
                </c:pt>
                <c:pt idx="1553">
                  <c:v>33902</c:v>
                </c:pt>
                <c:pt idx="1554">
                  <c:v>33895</c:v>
                </c:pt>
                <c:pt idx="1555">
                  <c:v>33888</c:v>
                </c:pt>
                <c:pt idx="1556">
                  <c:v>33881</c:v>
                </c:pt>
                <c:pt idx="1557">
                  <c:v>33874</c:v>
                </c:pt>
                <c:pt idx="1558">
                  <c:v>33867</c:v>
                </c:pt>
                <c:pt idx="1559">
                  <c:v>33860</c:v>
                </c:pt>
                <c:pt idx="1560">
                  <c:v>33853</c:v>
                </c:pt>
                <c:pt idx="1561">
                  <c:v>33846</c:v>
                </c:pt>
                <c:pt idx="1562">
                  <c:v>33839</c:v>
                </c:pt>
                <c:pt idx="1563">
                  <c:v>33832</c:v>
                </c:pt>
                <c:pt idx="1564">
                  <c:v>33825</c:v>
                </c:pt>
                <c:pt idx="1565">
                  <c:v>33818</c:v>
                </c:pt>
                <c:pt idx="1566">
                  <c:v>33811</c:v>
                </c:pt>
                <c:pt idx="1567">
                  <c:v>33804</c:v>
                </c:pt>
                <c:pt idx="1568">
                  <c:v>33797</c:v>
                </c:pt>
                <c:pt idx="1569">
                  <c:v>33790</c:v>
                </c:pt>
                <c:pt idx="1570">
                  <c:v>33783</c:v>
                </c:pt>
                <c:pt idx="1571">
                  <c:v>33776</c:v>
                </c:pt>
                <c:pt idx="1572">
                  <c:v>33769</c:v>
                </c:pt>
                <c:pt idx="1573">
                  <c:v>33762</c:v>
                </c:pt>
                <c:pt idx="1574">
                  <c:v>33755</c:v>
                </c:pt>
                <c:pt idx="1575">
                  <c:v>33748</c:v>
                </c:pt>
                <c:pt idx="1576">
                  <c:v>33741</c:v>
                </c:pt>
                <c:pt idx="1577">
                  <c:v>33734</c:v>
                </c:pt>
                <c:pt idx="1578">
                  <c:v>33727</c:v>
                </c:pt>
                <c:pt idx="1579">
                  <c:v>33720</c:v>
                </c:pt>
                <c:pt idx="1580">
                  <c:v>33713</c:v>
                </c:pt>
                <c:pt idx="1581">
                  <c:v>33706</c:v>
                </c:pt>
                <c:pt idx="1582">
                  <c:v>33699</c:v>
                </c:pt>
                <c:pt idx="1583">
                  <c:v>33692</c:v>
                </c:pt>
                <c:pt idx="1584">
                  <c:v>33685</c:v>
                </c:pt>
                <c:pt idx="1585">
                  <c:v>33678</c:v>
                </c:pt>
                <c:pt idx="1586">
                  <c:v>33671</c:v>
                </c:pt>
                <c:pt idx="1587">
                  <c:v>33664</c:v>
                </c:pt>
                <c:pt idx="1588">
                  <c:v>33657</c:v>
                </c:pt>
                <c:pt idx="1589">
                  <c:v>33650</c:v>
                </c:pt>
                <c:pt idx="1590">
                  <c:v>33643</c:v>
                </c:pt>
                <c:pt idx="1591">
                  <c:v>33636</c:v>
                </c:pt>
                <c:pt idx="1592">
                  <c:v>33629</c:v>
                </c:pt>
                <c:pt idx="1593">
                  <c:v>33622</c:v>
                </c:pt>
                <c:pt idx="1594">
                  <c:v>33615</c:v>
                </c:pt>
                <c:pt idx="1595">
                  <c:v>33608</c:v>
                </c:pt>
                <c:pt idx="1596">
                  <c:v>33601</c:v>
                </c:pt>
                <c:pt idx="1597">
                  <c:v>33594</c:v>
                </c:pt>
                <c:pt idx="1598">
                  <c:v>33587</c:v>
                </c:pt>
                <c:pt idx="1599">
                  <c:v>33580</c:v>
                </c:pt>
                <c:pt idx="1600">
                  <c:v>33573</c:v>
                </c:pt>
                <c:pt idx="1601">
                  <c:v>33566</c:v>
                </c:pt>
                <c:pt idx="1602">
                  <c:v>33559</c:v>
                </c:pt>
                <c:pt idx="1603">
                  <c:v>33552</c:v>
                </c:pt>
                <c:pt idx="1604">
                  <c:v>33545</c:v>
                </c:pt>
                <c:pt idx="1605">
                  <c:v>33538</c:v>
                </c:pt>
                <c:pt idx="1606">
                  <c:v>33531</c:v>
                </c:pt>
                <c:pt idx="1607">
                  <c:v>33524</c:v>
                </c:pt>
                <c:pt idx="1608">
                  <c:v>33517</c:v>
                </c:pt>
                <c:pt idx="1609">
                  <c:v>33510</c:v>
                </c:pt>
                <c:pt idx="1610">
                  <c:v>33503</c:v>
                </c:pt>
                <c:pt idx="1611">
                  <c:v>33496</c:v>
                </c:pt>
                <c:pt idx="1612">
                  <c:v>33489</c:v>
                </c:pt>
                <c:pt idx="1613">
                  <c:v>33482</c:v>
                </c:pt>
                <c:pt idx="1614">
                  <c:v>33475</c:v>
                </c:pt>
                <c:pt idx="1615">
                  <c:v>33468</c:v>
                </c:pt>
                <c:pt idx="1616">
                  <c:v>33461</c:v>
                </c:pt>
                <c:pt idx="1617">
                  <c:v>33454</c:v>
                </c:pt>
                <c:pt idx="1618">
                  <c:v>33447</c:v>
                </c:pt>
                <c:pt idx="1619">
                  <c:v>33440</c:v>
                </c:pt>
                <c:pt idx="1620">
                  <c:v>33433</c:v>
                </c:pt>
                <c:pt idx="1621">
                  <c:v>33426</c:v>
                </c:pt>
                <c:pt idx="1622">
                  <c:v>33419</c:v>
                </c:pt>
                <c:pt idx="1623">
                  <c:v>33412</c:v>
                </c:pt>
                <c:pt idx="1624">
                  <c:v>33405</c:v>
                </c:pt>
                <c:pt idx="1625">
                  <c:v>33398</c:v>
                </c:pt>
                <c:pt idx="1626">
                  <c:v>33391</c:v>
                </c:pt>
                <c:pt idx="1627">
                  <c:v>33384</c:v>
                </c:pt>
                <c:pt idx="1628">
                  <c:v>33377</c:v>
                </c:pt>
                <c:pt idx="1629">
                  <c:v>33370</c:v>
                </c:pt>
                <c:pt idx="1630">
                  <c:v>33363</c:v>
                </c:pt>
                <c:pt idx="1631">
                  <c:v>33356</c:v>
                </c:pt>
                <c:pt idx="1632">
                  <c:v>33349</c:v>
                </c:pt>
                <c:pt idx="1633">
                  <c:v>33342</c:v>
                </c:pt>
                <c:pt idx="1634">
                  <c:v>33335</c:v>
                </c:pt>
                <c:pt idx="1635">
                  <c:v>33328</c:v>
                </c:pt>
                <c:pt idx="1636">
                  <c:v>33321</c:v>
                </c:pt>
                <c:pt idx="1637">
                  <c:v>33314</c:v>
                </c:pt>
                <c:pt idx="1638">
                  <c:v>33307</c:v>
                </c:pt>
                <c:pt idx="1639">
                  <c:v>33300</c:v>
                </c:pt>
                <c:pt idx="1640">
                  <c:v>33293</c:v>
                </c:pt>
                <c:pt idx="1641">
                  <c:v>33286</c:v>
                </c:pt>
                <c:pt idx="1642">
                  <c:v>33279</c:v>
                </c:pt>
                <c:pt idx="1643">
                  <c:v>33272</c:v>
                </c:pt>
                <c:pt idx="1644">
                  <c:v>33265</c:v>
                </c:pt>
                <c:pt idx="1645">
                  <c:v>33258</c:v>
                </c:pt>
                <c:pt idx="1646">
                  <c:v>33251</c:v>
                </c:pt>
                <c:pt idx="1647">
                  <c:v>33244</c:v>
                </c:pt>
                <c:pt idx="1648">
                  <c:v>33237</c:v>
                </c:pt>
                <c:pt idx="1649">
                  <c:v>33230</c:v>
                </c:pt>
                <c:pt idx="1650">
                  <c:v>33223</c:v>
                </c:pt>
                <c:pt idx="1651">
                  <c:v>33216</c:v>
                </c:pt>
                <c:pt idx="1652">
                  <c:v>33209</c:v>
                </c:pt>
                <c:pt idx="1653">
                  <c:v>33202</c:v>
                </c:pt>
                <c:pt idx="1654">
                  <c:v>33195</c:v>
                </c:pt>
                <c:pt idx="1655">
                  <c:v>33188</c:v>
                </c:pt>
                <c:pt idx="1656">
                  <c:v>33181</c:v>
                </c:pt>
                <c:pt idx="1657">
                  <c:v>33174</c:v>
                </c:pt>
                <c:pt idx="1658">
                  <c:v>33167</c:v>
                </c:pt>
                <c:pt idx="1659">
                  <c:v>33160</c:v>
                </c:pt>
                <c:pt idx="1660">
                  <c:v>33153</c:v>
                </c:pt>
                <c:pt idx="1661">
                  <c:v>33146</c:v>
                </c:pt>
                <c:pt idx="1662">
                  <c:v>33139</c:v>
                </c:pt>
                <c:pt idx="1663">
                  <c:v>33132</c:v>
                </c:pt>
                <c:pt idx="1664">
                  <c:v>33125</c:v>
                </c:pt>
                <c:pt idx="1665">
                  <c:v>33118</c:v>
                </c:pt>
                <c:pt idx="1666">
                  <c:v>33111</c:v>
                </c:pt>
                <c:pt idx="1667">
                  <c:v>33104</c:v>
                </c:pt>
                <c:pt idx="1668">
                  <c:v>33097</c:v>
                </c:pt>
                <c:pt idx="1669">
                  <c:v>33090</c:v>
                </c:pt>
                <c:pt idx="1670">
                  <c:v>33083</c:v>
                </c:pt>
                <c:pt idx="1671">
                  <c:v>33076</c:v>
                </c:pt>
                <c:pt idx="1672">
                  <c:v>33069</c:v>
                </c:pt>
                <c:pt idx="1673">
                  <c:v>33062</c:v>
                </c:pt>
                <c:pt idx="1674">
                  <c:v>33055</c:v>
                </c:pt>
                <c:pt idx="1675">
                  <c:v>33048</c:v>
                </c:pt>
                <c:pt idx="1676">
                  <c:v>33041</c:v>
                </c:pt>
                <c:pt idx="1677">
                  <c:v>33034</c:v>
                </c:pt>
                <c:pt idx="1678">
                  <c:v>33027</c:v>
                </c:pt>
                <c:pt idx="1679">
                  <c:v>33020</c:v>
                </c:pt>
                <c:pt idx="1680">
                  <c:v>33013</c:v>
                </c:pt>
                <c:pt idx="1681">
                  <c:v>33006</c:v>
                </c:pt>
                <c:pt idx="1682">
                  <c:v>32999</c:v>
                </c:pt>
                <c:pt idx="1683">
                  <c:v>32992</c:v>
                </c:pt>
                <c:pt idx="1684">
                  <c:v>32985</c:v>
                </c:pt>
                <c:pt idx="1685">
                  <c:v>32978</c:v>
                </c:pt>
                <c:pt idx="1686">
                  <c:v>32971</c:v>
                </c:pt>
                <c:pt idx="1687">
                  <c:v>32964</c:v>
                </c:pt>
                <c:pt idx="1688">
                  <c:v>32957</c:v>
                </c:pt>
                <c:pt idx="1689">
                  <c:v>32950</c:v>
                </c:pt>
                <c:pt idx="1690">
                  <c:v>32943</c:v>
                </c:pt>
                <c:pt idx="1691">
                  <c:v>32936</c:v>
                </c:pt>
                <c:pt idx="1692">
                  <c:v>32929</c:v>
                </c:pt>
                <c:pt idx="1693">
                  <c:v>32922</c:v>
                </c:pt>
                <c:pt idx="1694">
                  <c:v>32915</c:v>
                </c:pt>
                <c:pt idx="1695">
                  <c:v>32908</c:v>
                </c:pt>
                <c:pt idx="1696">
                  <c:v>32901</c:v>
                </c:pt>
                <c:pt idx="1697">
                  <c:v>32894</c:v>
                </c:pt>
                <c:pt idx="1698">
                  <c:v>32887</c:v>
                </c:pt>
                <c:pt idx="1699">
                  <c:v>32880</c:v>
                </c:pt>
                <c:pt idx="1700">
                  <c:v>32873</c:v>
                </c:pt>
                <c:pt idx="1701">
                  <c:v>32866</c:v>
                </c:pt>
                <c:pt idx="1702">
                  <c:v>32859</c:v>
                </c:pt>
                <c:pt idx="1703">
                  <c:v>32852</c:v>
                </c:pt>
                <c:pt idx="1704">
                  <c:v>32845</c:v>
                </c:pt>
                <c:pt idx="1705">
                  <c:v>32838</c:v>
                </c:pt>
                <c:pt idx="1706">
                  <c:v>32831</c:v>
                </c:pt>
                <c:pt idx="1707">
                  <c:v>32824</c:v>
                </c:pt>
                <c:pt idx="1708">
                  <c:v>32817</c:v>
                </c:pt>
                <c:pt idx="1709">
                  <c:v>32810</c:v>
                </c:pt>
                <c:pt idx="1710">
                  <c:v>32803</c:v>
                </c:pt>
                <c:pt idx="1711">
                  <c:v>32796</c:v>
                </c:pt>
                <c:pt idx="1712">
                  <c:v>32789</c:v>
                </c:pt>
                <c:pt idx="1713">
                  <c:v>32782</c:v>
                </c:pt>
                <c:pt idx="1714">
                  <c:v>32775</c:v>
                </c:pt>
                <c:pt idx="1715">
                  <c:v>32768</c:v>
                </c:pt>
                <c:pt idx="1716">
                  <c:v>32761</c:v>
                </c:pt>
                <c:pt idx="1717">
                  <c:v>32754</c:v>
                </c:pt>
                <c:pt idx="1718">
                  <c:v>32747</c:v>
                </c:pt>
                <c:pt idx="1719">
                  <c:v>32740</c:v>
                </c:pt>
                <c:pt idx="1720">
                  <c:v>32733</c:v>
                </c:pt>
                <c:pt idx="1721">
                  <c:v>32726</c:v>
                </c:pt>
                <c:pt idx="1722">
                  <c:v>32719</c:v>
                </c:pt>
                <c:pt idx="1723">
                  <c:v>32712</c:v>
                </c:pt>
                <c:pt idx="1724">
                  <c:v>32705</c:v>
                </c:pt>
                <c:pt idx="1725">
                  <c:v>32698</c:v>
                </c:pt>
                <c:pt idx="1726">
                  <c:v>32691</c:v>
                </c:pt>
                <c:pt idx="1727">
                  <c:v>32684</c:v>
                </c:pt>
                <c:pt idx="1728">
                  <c:v>32677</c:v>
                </c:pt>
                <c:pt idx="1729">
                  <c:v>32670</c:v>
                </c:pt>
                <c:pt idx="1730">
                  <c:v>32663</c:v>
                </c:pt>
                <c:pt idx="1731">
                  <c:v>32656</c:v>
                </c:pt>
                <c:pt idx="1732">
                  <c:v>32649</c:v>
                </c:pt>
                <c:pt idx="1733">
                  <c:v>32642</c:v>
                </c:pt>
                <c:pt idx="1734">
                  <c:v>32635</c:v>
                </c:pt>
                <c:pt idx="1735">
                  <c:v>32628</c:v>
                </c:pt>
                <c:pt idx="1736">
                  <c:v>32621</c:v>
                </c:pt>
                <c:pt idx="1737">
                  <c:v>32614</c:v>
                </c:pt>
                <c:pt idx="1738">
                  <c:v>32607</c:v>
                </c:pt>
                <c:pt idx="1739">
                  <c:v>32600</c:v>
                </c:pt>
                <c:pt idx="1740">
                  <c:v>32593</c:v>
                </c:pt>
                <c:pt idx="1741">
                  <c:v>32586</c:v>
                </c:pt>
                <c:pt idx="1742">
                  <c:v>32579</c:v>
                </c:pt>
                <c:pt idx="1743">
                  <c:v>32572</c:v>
                </c:pt>
                <c:pt idx="1744">
                  <c:v>32565</c:v>
                </c:pt>
                <c:pt idx="1745">
                  <c:v>32558</c:v>
                </c:pt>
                <c:pt idx="1746">
                  <c:v>32551</c:v>
                </c:pt>
                <c:pt idx="1747">
                  <c:v>32544</c:v>
                </c:pt>
                <c:pt idx="1748">
                  <c:v>32537</c:v>
                </c:pt>
                <c:pt idx="1749">
                  <c:v>32530</c:v>
                </c:pt>
                <c:pt idx="1750">
                  <c:v>32523</c:v>
                </c:pt>
                <c:pt idx="1751">
                  <c:v>32516</c:v>
                </c:pt>
                <c:pt idx="1752">
                  <c:v>32509</c:v>
                </c:pt>
                <c:pt idx="1753">
                  <c:v>32502</c:v>
                </c:pt>
                <c:pt idx="1754">
                  <c:v>32495</c:v>
                </c:pt>
                <c:pt idx="1755">
                  <c:v>32488</c:v>
                </c:pt>
                <c:pt idx="1756">
                  <c:v>32481</c:v>
                </c:pt>
                <c:pt idx="1757">
                  <c:v>32474</c:v>
                </c:pt>
                <c:pt idx="1758">
                  <c:v>32467</c:v>
                </c:pt>
                <c:pt idx="1759">
                  <c:v>32460</c:v>
                </c:pt>
                <c:pt idx="1760">
                  <c:v>32453</c:v>
                </c:pt>
                <c:pt idx="1761">
                  <c:v>32446</c:v>
                </c:pt>
                <c:pt idx="1762">
                  <c:v>32439</c:v>
                </c:pt>
                <c:pt idx="1763">
                  <c:v>32432</c:v>
                </c:pt>
                <c:pt idx="1764">
                  <c:v>32425</c:v>
                </c:pt>
                <c:pt idx="1765">
                  <c:v>32418</c:v>
                </c:pt>
                <c:pt idx="1766">
                  <c:v>32411</c:v>
                </c:pt>
                <c:pt idx="1767">
                  <c:v>32404</c:v>
                </c:pt>
                <c:pt idx="1768">
                  <c:v>32397</c:v>
                </c:pt>
                <c:pt idx="1769">
                  <c:v>32390</c:v>
                </c:pt>
                <c:pt idx="1770">
                  <c:v>32383</c:v>
                </c:pt>
                <c:pt idx="1771">
                  <c:v>32376</c:v>
                </c:pt>
                <c:pt idx="1772">
                  <c:v>32369</c:v>
                </c:pt>
                <c:pt idx="1773">
                  <c:v>32362</c:v>
                </c:pt>
                <c:pt idx="1774">
                  <c:v>32355</c:v>
                </c:pt>
                <c:pt idx="1775">
                  <c:v>32348</c:v>
                </c:pt>
                <c:pt idx="1776">
                  <c:v>32341</c:v>
                </c:pt>
                <c:pt idx="1777">
                  <c:v>32334</c:v>
                </c:pt>
                <c:pt idx="1778">
                  <c:v>32327</c:v>
                </c:pt>
                <c:pt idx="1779">
                  <c:v>32320</c:v>
                </c:pt>
              </c:numCache>
            </c:numRef>
          </c:xVal>
          <c:yVal>
            <c:numRef>
              <c:f>Brent!$Q$2:$Q$1781</c:f>
              <c:numCache>
                <c:formatCode>General</c:formatCode>
                <c:ptCount val="1780"/>
                <c:pt idx="0">
                  <c:v>99.95</c:v>
                </c:pt>
                <c:pt idx="1">
                  <c:v>110.01</c:v>
                </c:pt>
                <c:pt idx="2">
                  <c:v>103.2</c:v>
                </c:pt>
                <c:pt idx="3">
                  <c:v>101.16</c:v>
                </c:pt>
                <c:pt idx="4">
                  <c:v>107.02</c:v>
                </c:pt>
                <c:pt idx="5">
                  <c:v>111.63</c:v>
                </c:pt>
                <c:pt idx="6">
                  <c:v>113.12</c:v>
                </c:pt>
                <c:pt idx="7">
                  <c:v>113.12</c:v>
                </c:pt>
                <c:pt idx="8">
                  <c:v>122.01</c:v>
                </c:pt>
                <c:pt idx="9">
                  <c:v>119.72</c:v>
                </c:pt>
                <c:pt idx="10">
                  <c:v>119.43</c:v>
                </c:pt>
                <c:pt idx="11">
                  <c:v>112.55</c:v>
                </c:pt>
                <c:pt idx="12">
                  <c:v>111.55</c:v>
                </c:pt>
                <c:pt idx="13">
                  <c:v>112.39</c:v>
                </c:pt>
                <c:pt idx="14">
                  <c:v>109.34</c:v>
                </c:pt>
                <c:pt idx="15">
                  <c:v>106.65</c:v>
                </c:pt>
                <c:pt idx="16">
                  <c:v>111.7</c:v>
                </c:pt>
                <c:pt idx="17">
                  <c:v>102.78</c:v>
                </c:pt>
                <c:pt idx="18">
                  <c:v>104.39</c:v>
                </c:pt>
                <c:pt idx="19">
                  <c:v>120.65</c:v>
                </c:pt>
                <c:pt idx="20">
                  <c:v>107.93</c:v>
                </c:pt>
                <c:pt idx="21">
                  <c:v>112.67</c:v>
                </c:pt>
                <c:pt idx="22">
                  <c:v>118.11</c:v>
                </c:pt>
                <c:pt idx="23">
                  <c:v>97.93</c:v>
                </c:pt>
                <c:pt idx="24">
                  <c:v>93.54</c:v>
                </c:pt>
                <c:pt idx="25">
                  <c:v>94.44</c:v>
                </c:pt>
                <c:pt idx="26">
                  <c:v>93.27</c:v>
                </c:pt>
                <c:pt idx="27">
                  <c:v>90.03</c:v>
                </c:pt>
                <c:pt idx="28">
                  <c:v>87.89</c:v>
                </c:pt>
                <c:pt idx="29">
                  <c:v>86.06</c:v>
                </c:pt>
                <c:pt idx="30">
                  <c:v>81.75</c:v>
                </c:pt>
                <c:pt idx="31">
                  <c:v>77.78</c:v>
                </c:pt>
                <c:pt idx="32">
                  <c:v>76.14</c:v>
                </c:pt>
                <c:pt idx="33">
                  <c:v>73.52</c:v>
                </c:pt>
                <c:pt idx="34">
                  <c:v>75.150000000000006</c:v>
                </c:pt>
                <c:pt idx="35">
                  <c:v>69.88</c:v>
                </c:pt>
                <c:pt idx="36">
                  <c:v>72.72</c:v>
                </c:pt>
                <c:pt idx="37">
                  <c:v>78.89</c:v>
                </c:pt>
                <c:pt idx="38">
                  <c:v>82.17</c:v>
                </c:pt>
                <c:pt idx="39">
                  <c:v>82.74</c:v>
                </c:pt>
                <c:pt idx="40">
                  <c:v>84.38</c:v>
                </c:pt>
                <c:pt idx="41">
                  <c:v>85.53</c:v>
                </c:pt>
                <c:pt idx="42">
                  <c:v>84.86</c:v>
                </c:pt>
                <c:pt idx="43">
                  <c:v>82.39</c:v>
                </c:pt>
                <c:pt idx="44">
                  <c:v>79.28</c:v>
                </c:pt>
                <c:pt idx="45">
                  <c:v>78.09</c:v>
                </c:pt>
                <c:pt idx="46">
                  <c:v>75.34</c:v>
                </c:pt>
                <c:pt idx="47">
                  <c:v>72.92</c:v>
                </c:pt>
                <c:pt idx="48">
                  <c:v>72.61</c:v>
                </c:pt>
                <c:pt idx="49">
                  <c:v>72.7</c:v>
                </c:pt>
                <c:pt idx="50">
                  <c:v>65.180000000000007</c:v>
                </c:pt>
                <c:pt idx="51">
                  <c:v>70.59</c:v>
                </c:pt>
                <c:pt idx="52">
                  <c:v>70.7</c:v>
                </c:pt>
                <c:pt idx="53">
                  <c:v>76.33</c:v>
                </c:pt>
                <c:pt idx="54">
                  <c:v>74.099999999999994</c:v>
                </c:pt>
                <c:pt idx="55">
                  <c:v>73.59</c:v>
                </c:pt>
                <c:pt idx="56">
                  <c:v>75.55</c:v>
                </c:pt>
                <c:pt idx="57">
                  <c:v>76.17</c:v>
                </c:pt>
                <c:pt idx="58">
                  <c:v>76.180000000000007</c:v>
                </c:pt>
                <c:pt idx="59">
                  <c:v>73.510000000000005</c:v>
                </c:pt>
                <c:pt idx="60">
                  <c:v>72.69</c:v>
                </c:pt>
                <c:pt idx="61">
                  <c:v>71.89</c:v>
                </c:pt>
                <c:pt idx="62">
                  <c:v>69.63</c:v>
                </c:pt>
                <c:pt idx="63">
                  <c:v>66.44</c:v>
                </c:pt>
                <c:pt idx="64">
                  <c:v>68.709999999999994</c:v>
                </c:pt>
                <c:pt idx="65">
                  <c:v>68.28</c:v>
                </c:pt>
                <c:pt idx="66">
                  <c:v>67.25</c:v>
                </c:pt>
                <c:pt idx="67">
                  <c:v>66.11</c:v>
                </c:pt>
                <c:pt idx="68">
                  <c:v>66.77</c:v>
                </c:pt>
                <c:pt idx="69">
                  <c:v>62.95</c:v>
                </c:pt>
                <c:pt idx="70">
                  <c:v>64.86</c:v>
                </c:pt>
                <c:pt idx="71">
                  <c:v>64.569999999999993</c:v>
                </c:pt>
                <c:pt idx="72">
                  <c:v>64.53</c:v>
                </c:pt>
                <c:pt idx="73">
                  <c:v>69.22</c:v>
                </c:pt>
                <c:pt idx="74">
                  <c:v>69.36</c:v>
                </c:pt>
                <c:pt idx="75">
                  <c:v>66.13</c:v>
                </c:pt>
                <c:pt idx="76">
                  <c:v>62.91</c:v>
                </c:pt>
                <c:pt idx="77">
                  <c:v>62.43</c:v>
                </c:pt>
                <c:pt idx="78">
                  <c:v>59.34</c:v>
                </c:pt>
                <c:pt idx="79">
                  <c:v>55.88</c:v>
                </c:pt>
                <c:pt idx="80">
                  <c:v>55.41</c:v>
                </c:pt>
                <c:pt idx="81">
                  <c:v>55.1</c:v>
                </c:pt>
                <c:pt idx="82">
                  <c:v>55.99</c:v>
                </c:pt>
                <c:pt idx="83">
                  <c:v>51.8</c:v>
                </c:pt>
                <c:pt idx="84">
                  <c:v>51.29</c:v>
                </c:pt>
                <c:pt idx="85">
                  <c:v>52.26</c:v>
                </c:pt>
                <c:pt idx="86">
                  <c:v>49.97</c:v>
                </c:pt>
                <c:pt idx="87">
                  <c:v>49.25</c:v>
                </c:pt>
                <c:pt idx="88">
                  <c:v>48.18</c:v>
                </c:pt>
                <c:pt idx="89">
                  <c:v>44.96</c:v>
                </c:pt>
                <c:pt idx="90">
                  <c:v>42.78</c:v>
                </c:pt>
                <c:pt idx="91">
                  <c:v>39.450000000000003</c:v>
                </c:pt>
                <c:pt idx="92">
                  <c:v>37.46</c:v>
                </c:pt>
                <c:pt idx="93">
                  <c:v>41.77</c:v>
                </c:pt>
                <c:pt idx="94">
                  <c:v>42.93</c:v>
                </c:pt>
                <c:pt idx="95">
                  <c:v>42.85</c:v>
                </c:pt>
                <c:pt idx="96">
                  <c:v>39.270000000000003</c:v>
                </c:pt>
                <c:pt idx="97">
                  <c:v>41.92</c:v>
                </c:pt>
                <c:pt idx="98">
                  <c:v>43.15</c:v>
                </c:pt>
                <c:pt idx="99">
                  <c:v>39.83</c:v>
                </c:pt>
                <c:pt idx="100">
                  <c:v>42.66</c:v>
                </c:pt>
                <c:pt idx="101">
                  <c:v>45.05</c:v>
                </c:pt>
                <c:pt idx="102">
                  <c:v>44.35</c:v>
                </c:pt>
                <c:pt idx="103">
                  <c:v>44.8</c:v>
                </c:pt>
                <c:pt idx="104">
                  <c:v>44.4</c:v>
                </c:pt>
                <c:pt idx="105">
                  <c:v>43.3</c:v>
                </c:pt>
                <c:pt idx="106">
                  <c:v>43.34</c:v>
                </c:pt>
                <c:pt idx="107">
                  <c:v>43.14</c:v>
                </c:pt>
                <c:pt idx="108">
                  <c:v>43.24</c:v>
                </c:pt>
                <c:pt idx="109">
                  <c:v>42.8</c:v>
                </c:pt>
                <c:pt idx="110">
                  <c:v>41.02</c:v>
                </c:pt>
                <c:pt idx="111">
                  <c:v>42.19</c:v>
                </c:pt>
                <c:pt idx="112">
                  <c:v>38.729999999999997</c:v>
                </c:pt>
                <c:pt idx="113">
                  <c:v>42.3</c:v>
                </c:pt>
                <c:pt idx="114">
                  <c:v>35.33</c:v>
                </c:pt>
                <c:pt idx="115">
                  <c:v>35.130000000000003</c:v>
                </c:pt>
                <c:pt idx="116">
                  <c:v>32.5</c:v>
                </c:pt>
                <c:pt idx="117">
                  <c:v>30.97</c:v>
                </c:pt>
                <c:pt idx="118">
                  <c:v>26.44</c:v>
                </c:pt>
                <c:pt idx="119">
                  <c:v>21.44</c:v>
                </c:pt>
                <c:pt idx="120">
                  <c:v>28.08</c:v>
                </c:pt>
                <c:pt idx="121">
                  <c:v>31.48</c:v>
                </c:pt>
                <c:pt idx="122">
                  <c:v>34.11</c:v>
                </c:pt>
                <c:pt idx="123">
                  <c:v>24.93</c:v>
                </c:pt>
                <c:pt idx="124">
                  <c:v>26.98</c:v>
                </c:pt>
                <c:pt idx="125">
                  <c:v>33.85</c:v>
                </c:pt>
                <c:pt idx="126">
                  <c:v>45.27</c:v>
                </c:pt>
                <c:pt idx="127">
                  <c:v>50.52</c:v>
                </c:pt>
                <c:pt idx="128">
                  <c:v>58.5</c:v>
                </c:pt>
                <c:pt idx="129">
                  <c:v>57.32</c:v>
                </c:pt>
                <c:pt idx="130">
                  <c:v>54.47</c:v>
                </c:pt>
                <c:pt idx="131">
                  <c:v>58.16</c:v>
                </c:pt>
                <c:pt idx="132">
                  <c:v>60.69</c:v>
                </c:pt>
                <c:pt idx="133">
                  <c:v>64.849999999999994</c:v>
                </c:pt>
                <c:pt idx="134">
                  <c:v>64.98</c:v>
                </c:pt>
                <c:pt idx="135">
                  <c:v>68.599999999999994</c:v>
                </c:pt>
                <c:pt idx="136">
                  <c:v>68.16</c:v>
                </c:pt>
                <c:pt idx="137">
                  <c:v>66.14</c:v>
                </c:pt>
                <c:pt idx="138">
                  <c:v>65.22</c:v>
                </c:pt>
                <c:pt idx="139">
                  <c:v>64.39</c:v>
                </c:pt>
                <c:pt idx="140">
                  <c:v>62.43</c:v>
                </c:pt>
                <c:pt idx="141">
                  <c:v>63.39</c:v>
                </c:pt>
                <c:pt idx="142">
                  <c:v>63.3</c:v>
                </c:pt>
                <c:pt idx="143">
                  <c:v>62.51</c:v>
                </c:pt>
                <c:pt idx="144">
                  <c:v>61.69</c:v>
                </c:pt>
                <c:pt idx="145">
                  <c:v>62.02</c:v>
                </c:pt>
                <c:pt idx="146">
                  <c:v>59.42</c:v>
                </c:pt>
                <c:pt idx="147">
                  <c:v>60.51</c:v>
                </c:pt>
                <c:pt idx="148">
                  <c:v>58.37</c:v>
                </c:pt>
                <c:pt idx="149">
                  <c:v>61.91</c:v>
                </c:pt>
                <c:pt idx="150">
                  <c:v>64.28</c:v>
                </c:pt>
                <c:pt idx="151">
                  <c:v>60.22</c:v>
                </c:pt>
                <c:pt idx="152">
                  <c:v>61.54</c:v>
                </c:pt>
                <c:pt idx="153">
                  <c:v>60.43</c:v>
                </c:pt>
                <c:pt idx="154">
                  <c:v>59.34</c:v>
                </c:pt>
                <c:pt idx="155">
                  <c:v>58.64</c:v>
                </c:pt>
                <c:pt idx="156">
                  <c:v>58.53</c:v>
                </c:pt>
                <c:pt idx="157">
                  <c:v>61.89</c:v>
                </c:pt>
                <c:pt idx="158">
                  <c:v>63.46</c:v>
                </c:pt>
                <c:pt idx="159">
                  <c:v>62.47</c:v>
                </c:pt>
                <c:pt idx="160">
                  <c:v>66.72</c:v>
                </c:pt>
                <c:pt idx="161">
                  <c:v>64.23</c:v>
                </c:pt>
                <c:pt idx="162">
                  <c:v>66.55</c:v>
                </c:pt>
                <c:pt idx="163">
                  <c:v>65.2</c:v>
                </c:pt>
                <c:pt idx="164">
                  <c:v>62.01</c:v>
                </c:pt>
                <c:pt idx="165">
                  <c:v>63.29</c:v>
                </c:pt>
                <c:pt idx="166">
                  <c:v>64.489999999999995</c:v>
                </c:pt>
                <c:pt idx="167">
                  <c:v>68.69</c:v>
                </c:pt>
                <c:pt idx="168">
                  <c:v>72.209999999999994</c:v>
                </c:pt>
                <c:pt idx="169">
                  <c:v>70.62</c:v>
                </c:pt>
                <c:pt idx="170">
                  <c:v>70.849999999999994</c:v>
                </c:pt>
                <c:pt idx="171">
                  <c:v>72.150000000000006</c:v>
                </c:pt>
                <c:pt idx="172">
                  <c:v>71.97</c:v>
                </c:pt>
                <c:pt idx="173">
                  <c:v>71.55</c:v>
                </c:pt>
                <c:pt idx="174">
                  <c:v>70.34</c:v>
                </c:pt>
                <c:pt idx="175">
                  <c:v>68.39</c:v>
                </c:pt>
                <c:pt idx="176">
                  <c:v>67.03</c:v>
                </c:pt>
                <c:pt idx="177">
                  <c:v>67.16</c:v>
                </c:pt>
                <c:pt idx="178">
                  <c:v>65.739999999999995</c:v>
                </c:pt>
                <c:pt idx="179">
                  <c:v>65.069999999999993</c:v>
                </c:pt>
                <c:pt idx="180">
                  <c:v>67.12</c:v>
                </c:pt>
                <c:pt idx="181">
                  <c:v>66.25</c:v>
                </c:pt>
                <c:pt idx="182">
                  <c:v>62.1</c:v>
                </c:pt>
                <c:pt idx="183">
                  <c:v>62.75</c:v>
                </c:pt>
                <c:pt idx="184">
                  <c:v>61.64</c:v>
                </c:pt>
                <c:pt idx="185">
                  <c:v>62.7</c:v>
                </c:pt>
                <c:pt idx="186">
                  <c:v>60.48</c:v>
                </c:pt>
                <c:pt idx="187">
                  <c:v>57.06</c:v>
                </c:pt>
                <c:pt idx="188">
                  <c:v>52.2</c:v>
                </c:pt>
                <c:pt idx="189">
                  <c:v>53.82</c:v>
                </c:pt>
                <c:pt idx="190">
                  <c:v>60.28</c:v>
                </c:pt>
                <c:pt idx="191">
                  <c:v>61.67</c:v>
                </c:pt>
                <c:pt idx="192">
                  <c:v>58.71</c:v>
                </c:pt>
                <c:pt idx="193">
                  <c:v>58.8</c:v>
                </c:pt>
                <c:pt idx="194">
                  <c:v>66.760000000000005</c:v>
                </c:pt>
                <c:pt idx="195">
                  <c:v>70.180000000000007</c:v>
                </c:pt>
                <c:pt idx="196">
                  <c:v>72.83</c:v>
                </c:pt>
                <c:pt idx="197">
                  <c:v>77.62</c:v>
                </c:pt>
                <c:pt idx="198">
                  <c:v>79.78</c:v>
                </c:pt>
                <c:pt idx="199">
                  <c:v>80.430000000000007</c:v>
                </c:pt>
                <c:pt idx="200">
                  <c:v>84.16</c:v>
                </c:pt>
                <c:pt idx="201">
                  <c:v>82.72</c:v>
                </c:pt>
                <c:pt idx="202">
                  <c:v>78.8</c:v>
                </c:pt>
                <c:pt idx="203">
                  <c:v>78.09</c:v>
                </c:pt>
                <c:pt idx="204">
                  <c:v>76.83</c:v>
                </c:pt>
                <c:pt idx="205">
                  <c:v>77.42</c:v>
                </c:pt>
                <c:pt idx="206">
                  <c:v>75.819999999999993</c:v>
                </c:pt>
                <c:pt idx="207">
                  <c:v>71.83</c:v>
                </c:pt>
                <c:pt idx="208">
                  <c:v>72.81</c:v>
                </c:pt>
                <c:pt idx="209">
                  <c:v>73.209999999999994</c:v>
                </c:pt>
                <c:pt idx="210">
                  <c:v>74.290000000000006</c:v>
                </c:pt>
                <c:pt idx="211">
                  <c:v>73.069999999999993</c:v>
                </c:pt>
                <c:pt idx="212">
                  <c:v>75.33</c:v>
                </c:pt>
                <c:pt idx="213">
                  <c:v>77.11</c:v>
                </c:pt>
                <c:pt idx="214">
                  <c:v>79.44</c:v>
                </c:pt>
                <c:pt idx="215">
                  <c:v>75.55</c:v>
                </c:pt>
                <c:pt idx="216">
                  <c:v>73.44</c:v>
                </c:pt>
                <c:pt idx="217">
                  <c:v>76.459999999999994</c:v>
                </c:pt>
                <c:pt idx="218">
                  <c:v>76.790000000000006</c:v>
                </c:pt>
                <c:pt idx="219">
                  <c:v>76.44</c:v>
                </c:pt>
                <c:pt idx="220">
                  <c:v>78.510000000000005</c:v>
                </c:pt>
                <c:pt idx="221">
                  <c:v>77.12</c:v>
                </c:pt>
                <c:pt idx="222">
                  <c:v>74.87</c:v>
                </c:pt>
                <c:pt idx="223">
                  <c:v>74.64</c:v>
                </c:pt>
                <c:pt idx="224">
                  <c:v>74.06</c:v>
                </c:pt>
                <c:pt idx="225">
                  <c:v>72.58</c:v>
                </c:pt>
                <c:pt idx="226">
                  <c:v>67.11</c:v>
                </c:pt>
                <c:pt idx="227">
                  <c:v>70.27</c:v>
                </c:pt>
                <c:pt idx="228">
                  <c:v>70.45</c:v>
                </c:pt>
                <c:pt idx="229">
                  <c:v>66.209999999999994</c:v>
                </c:pt>
                <c:pt idx="230">
                  <c:v>65.489999999999995</c:v>
                </c:pt>
                <c:pt idx="231">
                  <c:v>64.37</c:v>
                </c:pt>
                <c:pt idx="232">
                  <c:v>67.31</c:v>
                </c:pt>
                <c:pt idx="233">
                  <c:v>64.84</c:v>
                </c:pt>
                <c:pt idx="234">
                  <c:v>62.79</c:v>
                </c:pt>
                <c:pt idx="235">
                  <c:v>68.58</c:v>
                </c:pt>
                <c:pt idx="236">
                  <c:v>70.52</c:v>
                </c:pt>
                <c:pt idx="237">
                  <c:v>68.61</c:v>
                </c:pt>
                <c:pt idx="238">
                  <c:v>69.87</c:v>
                </c:pt>
                <c:pt idx="239">
                  <c:v>67.62</c:v>
                </c:pt>
                <c:pt idx="240">
                  <c:v>66.87</c:v>
                </c:pt>
                <c:pt idx="241">
                  <c:v>65.25</c:v>
                </c:pt>
                <c:pt idx="242">
                  <c:v>63.23</c:v>
                </c:pt>
                <c:pt idx="243">
                  <c:v>63.4</c:v>
                </c:pt>
                <c:pt idx="244">
                  <c:v>63.73</c:v>
                </c:pt>
                <c:pt idx="245">
                  <c:v>63.86</c:v>
                </c:pt>
                <c:pt idx="246">
                  <c:v>62.72</c:v>
                </c:pt>
                <c:pt idx="247">
                  <c:v>63.52</c:v>
                </c:pt>
                <c:pt idx="248">
                  <c:v>62.07</c:v>
                </c:pt>
                <c:pt idx="249">
                  <c:v>60.44</c:v>
                </c:pt>
                <c:pt idx="250">
                  <c:v>57.75</c:v>
                </c:pt>
                <c:pt idx="251">
                  <c:v>57.17</c:v>
                </c:pt>
                <c:pt idx="252">
                  <c:v>55.62</c:v>
                </c:pt>
                <c:pt idx="253">
                  <c:v>57.54</c:v>
                </c:pt>
                <c:pt idx="254">
                  <c:v>56.86</c:v>
                </c:pt>
                <c:pt idx="255">
                  <c:v>55.62</c:v>
                </c:pt>
                <c:pt idx="256">
                  <c:v>53.78</c:v>
                </c:pt>
                <c:pt idx="257">
                  <c:v>52.75</c:v>
                </c:pt>
                <c:pt idx="258">
                  <c:v>52.41</c:v>
                </c:pt>
                <c:pt idx="259">
                  <c:v>52.72</c:v>
                </c:pt>
                <c:pt idx="260">
                  <c:v>52.1</c:v>
                </c:pt>
                <c:pt idx="261">
                  <c:v>52.42</c:v>
                </c:pt>
                <c:pt idx="262">
                  <c:v>52.52</c:v>
                </c:pt>
                <c:pt idx="263">
                  <c:v>48.06</c:v>
                </c:pt>
                <c:pt idx="264">
                  <c:v>48.91</c:v>
                </c:pt>
                <c:pt idx="265">
                  <c:v>46.71</c:v>
                </c:pt>
                <c:pt idx="266">
                  <c:v>47.92</c:v>
                </c:pt>
                <c:pt idx="267">
                  <c:v>45.54</c:v>
                </c:pt>
                <c:pt idx="268">
                  <c:v>47.37</c:v>
                </c:pt>
                <c:pt idx="269">
                  <c:v>48.15</c:v>
                </c:pt>
                <c:pt idx="270">
                  <c:v>49.95</c:v>
                </c:pt>
                <c:pt idx="271">
                  <c:v>52.15</c:v>
                </c:pt>
                <c:pt idx="272">
                  <c:v>53.61</c:v>
                </c:pt>
                <c:pt idx="273">
                  <c:v>50.84</c:v>
                </c:pt>
                <c:pt idx="274">
                  <c:v>49.1</c:v>
                </c:pt>
                <c:pt idx="275">
                  <c:v>51.73</c:v>
                </c:pt>
                <c:pt idx="276">
                  <c:v>51.96</c:v>
                </c:pt>
                <c:pt idx="277">
                  <c:v>55.89</c:v>
                </c:pt>
                <c:pt idx="278">
                  <c:v>55.24</c:v>
                </c:pt>
                <c:pt idx="279">
                  <c:v>52.83</c:v>
                </c:pt>
                <c:pt idx="280">
                  <c:v>50.8</c:v>
                </c:pt>
                <c:pt idx="281">
                  <c:v>51.76</c:v>
                </c:pt>
                <c:pt idx="282">
                  <c:v>51.37</c:v>
                </c:pt>
                <c:pt idx="283">
                  <c:v>55.9</c:v>
                </c:pt>
                <c:pt idx="284">
                  <c:v>55.99</c:v>
                </c:pt>
                <c:pt idx="285">
                  <c:v>55.81</c:v>
                </c:pt>
                <c:pt idx="286">
                  <c:v>56.7</c:v>
                </c:pt>
                <c:pt idx="287">
                  <c:v>56.81</c:v>
                </c:pt>
                <c:pt idx="288">
                  <c:v>55.52</c:v>
                </c:pt>
                <c:pt idx="289">
                  <c:v>55.49</c:v>
                </c:pt>
                <c:pt idx="290">
                  <c:v>55.45</c:v>
                </c:pt>
                <c:pt idx="291">
                  <c:v>57.1</c:v>
                </c:pt>
                <c:pt idx="292">
                  <c:v>56.82</c:v>
                </c:pt>
                <c:pt idx="293">
                  <c:v>55.16</c:v>
                </c:pt>
                <c:pt idx="294">
                  <c:v>55.21</c:v>
                </c:pt>
                <c:pt idx="295">
                  <c:v>54.33</c:v>
                </c:pt>
                <c:pt idx="296">
                  <c:v>54.46</c:v>
                </c:pt>
                <c:pt idx="297">
                  <c:v>47.24</c:v>
                </c:pt>
                <c:pt idx="298">
                  <c:v>46.86</c:v>
                </c:pt>
                <c:pt idx="299">
                  <c:v>44.75</c:v>
                </c:pt>
                <c:pt idx="300">
                  <c:v>45.58</c:v>
                </c:pt>
                <c:pt idx="301">
                  <c:v>49.71</c:v>
                </c:pt>
                <c:pt idx="302">
                  <c:v>51.78</c:v>
                </c:pt>
                <c:pt idx="303">
                  <c:v>51.95</c:v>
                </c:pt>
                <c:pt idx="304">
                  <c:v>51.93</c:v>
                </c:pt>
                <c:pt idx="305">
                  <c:v>49.06</c:v>
                </c:pt>
                <c:pt idx="306">
                  <c:v>45.89</c:v>
                </c:pt>
                <c:pt idx="307">
                  <c:v>45.77</c:v>
                </c:pt>
                <c:pt idx="308">
                  <c:v>48.01</c:v>
                </c:pt>
                <c:pt idx="309">
                  <c:v>46.83</c:v>
                </c:pt>
                <c:pt idx="310">
                  <c:v>49.92</c:v>
                </c:pt>
                <c:pt idx="311">
                  <c:v>50.88</c:v>
                </c:pt>
                <c:pt idx="312">
                  <c:v>46.97</c:v>
                </c:pt>
                <c:pt idx="313">
                  <c:v>44.27</c:v>
                </c:pt>
                <c:pt idx="314">
                  <c:v>42.46</c:v>
                </c:pt>
                <c:pt idx="315">
                  <c:v>45.69</c:v>
                </c:pt>
                <c:pt idx="316">
                  <c:v>47.61</c:v>
                </c:pt>
                <c:pt idx="317">
                  <c:v>46.76</c:v>
                </c:pt>
                <c:pt idx="318">
                  <c:v>50.35</c:v>
                </c:pt>
                <c:pt idx="319">
                  <c:v>48.41</c:v>
                </c:pt>
                <c:pt idx="320">
                  <c:v>49.17</c:v>
                </c:pt>
                <c:pt idx="321">
                  <c:v>50.54</c:v>
                </c:pt>
                <c:pt idx="322">
                  <c:v>49.64</c:v>
                </c:pt>
                <c:pt idx="323">
                  <c:v>49.32</c:v>
                </c:pt>
                <c:pt idx="324">
                  <c:v>48.72</c:v>
                </c:pt>
                <c:pt idx="325">
                  <c:v>47.83</c:v>
                </c:pt>
                <c:pt idx="326">
                  <c:v>45.37</c:v>
                </c:pt>
                <c:pt idx="327">
                  <c:v>48.13</c:v>
                </c:pt>
                <c:pt idx="328">
                  <c:v>45.11</c:v>
                </c:pt>
                <c:pt idx="329">
                  <c:v>43.1</c:v>
                </c:pt>
                <c:pt idx="330">
                  <c:v>41.94</c:v>
                </c:pt>
                <c:pt idx="331">
                  <c:v>38.67</c:v>
                </c:pt>
                <c:pt idx="332">
                  <c:v>40.44</c:v>
                </c:pt>
                <c:pt idx="333">
                  <c:v>41.2</c:v>
                </c:pt>
                <c:pt idx="334">
                  <c:v>40.39</c:v>
                </c:pt>
                <c:pt idx="335">
                  <c:v>38.72</c:v>
                </c:pt>
                <c:pt idx="336">
                  <c:v>35.1</c:v>
                </c:pt>
                <c:pt idx="337">
                  <c:v>33.01</c:v>
                </c:pt>
                <c:pt idx="338">
                  <c:v>33.36</c:v>
                </c:pt>
                <c:pt idx="339">
                  <c:v>34.06</c:v>
                </c:pt>
                <c:pt idx="340">
                  <c:v>34.74</c:v>
                </c:pt>
                <c:pt idx="341">
                  <c:v>32.18</c:v>
                </c:pt>
                <c:pt idx="342">
                  <c:v>28.94</c:v>
                </c:pt>
                <c:pt idx="343">
                  <c:v>33.549999999999997</c:v>
                </c:pt>
                <c:pt idx="344">
                  <c:v>37.28</c:v>
                </c:pt>
                <c:pt idx="345">
                  <c:v>37.89</c:v>
                </c:pt>
                <c:pt idx="346">
                  <c:v>36.880000000000003</c:v>
                </c:pt>
                <c:pt idx="347">
                  <c:v>37.93</c:v>
                </c:pt>
                <c:pt idx="348">
                  <c:v>43</c:v>
                </c:pt>
                <c:pt idx="349">
                  <c:v>44.86</c:v>
                </c:pt>
                <c:pt idx="350">
                  <c:v>44.66</c:v>
                </c:pt>
                <c:pt idx="351">
                  <c:v>43.61</c:v>
                </c:pt>
                <c:pt idx="352">
                  <c:v>47.42</c:v>
                </c:pt>
                <c:pt idx="353">
                  <c:v>49.56</c:v>
                </c:pt>
                <c:pt idx="354">
                  <c:v>47.99</c:v>
                </c:pt>
                <c:pt idx="355">
                  <c:v>50.46</c:v>
                </c:pt>
                <c:pt idx="356">
                  <c:v>52.65</c:v>
                </c:pt>
                <c:pt idx="357">
                  <c:v>48.13</c:v>
                </c:pt>
                <c:pt idx="358">
                  <c:v>48.6</c:v>
                </c:pt>
                <c:pt idx="359">
                  <c:v>47.47</c:v>
                </c:pt>
                <c:pt idx="360">
                  <c:v>48.14</c:v>
                </c:pt>
                <c:pt idx="361">
                  <c:v>49.61</c:v>
                </c:pt>
                <c:pt idx="362">
                  <c:v>50.05</c:v>
                </c:pt>
                <c:pt idx="363">
                  <c:v>45.46</c:v>
                </c:pt>
                <c:pt idx="364">
                  <c:v>49.03</c:v>
                </c:pt>
                <c:pt idx="365">
                  <c:v>48.61</c:v>
                </c:pt>
                <c:pt idx="366">
                  <c:v>52.21</c:v>
                </c:pt>
                <c:pt idx="367">
                  <c:v>54.62</c:v>
                </c:pt>
                <c:pt idx="368">
                  <c:v>57.1</c:v>
                </c:pt>
                <c:pt idx="369">
                  <c:v>58.73</c:v>
                </c:pt>
                <c:pt idx="370">
                  <c:v>60.32</c:v>
                </c:pt>
                <c:pt idx="371">
                  <c:v>63.26</c:v>
                </c:pt>
                <c:pt idx="372">
                  <c:v>63.02</c:v>
                </c:pt>
                <c:pt idx="373">
                  <c:v>63.87</c:v>
                </c:pt>
                <c:pt idx="374">
                  <c:v>63.31</c:v>
                </c:pt>
                <c:pt idx="375">
                  <c:v>65.56</c:v>
                </c:pt>
                <c:pt idx="376">
                  <c:v>65.37</c:v>
                </c:pt>
                <c:pt idx="377">
                  <c:v>66.81</c:v>
                </c:pt>
                <c:pt idx="378">
                  <c:v>65.39</c:v>
                </c:pt>
                <c:pt idx="379">
                  <c:v>66.459999999999994</c:v>
                </c:pt>
                <c:pt idx="380">
                  <c:v>65.28</c:v>
                </c:pt>
                <c:pt idx="381">
                  <c:v>63.45</c:v>
                </c:pt>
                <c:pt idx="382">
                  <c:v>57.87</c:v>
                </c:pt>
                <c:pt idx="383">
                  <c:v>54.95</c:v>
                </c:pt>
                <c:pt idx="384">
                  <c:v>56.41</c:v>
                </c:pt>
                <c:pt idx="385">
                  <c:v>55.32</c:v>
                </c:pt>
                <c:pt idx="386">
                  <c:v>54.67</c:v>
                </c:pt>
                <c:pt idx="387">
                  <c:v>59.73</c:v>
                </c:pt>
                <c:pt idx="388">
                  <c:v>62.58</c:v>
                </c:pt>
                <c:pt idx="389">
                  <c:v>60.22</c:v>
                </c:pt>
                <c:pt idx="390">
                  <c:v>61.52</c:v>
                </c:pt>
                <c:pt idx="391">
                  <c:v>57.8</c:v>
                </c:pt>
                <c:pt idx="392">
                  <c:v>52.99</c:v>
                </c:pt>
                <c:pt idx="393">
                  <c:v>48.79</c:v>
                </c:pt>
                <c:pt idx="394">
                  <c:v>50.17</c:v>
                </c:pt>
                <c:pt idx="395">
                  <c:v>50.11</c:v>
                </c:pt>
                <c:pt idx="396">
                  <c:v>56.42</c:v>
                </c:pt>
                <c:pt idx="397">
                  <c:v>59.45</c:v>
                </c:pt>
                <c:pt idx="398">
                  <c:v>61.38</c:v>
                </c:pt>
                <c:pt idx="399">
                  <c:v>61.85</c:v>
                </c:pt>
                <c:pt idx="400">
                  <c:v>69.069999999999993</c:v>
                </c:pt>
                <c:pt idx="401">
                  <c:v>70.150000000000006</c:v>
                </c:pt>
                <c:pt idx="402">
                  <c:v>80.36</c:v>
                </c:pt>
                <c:pt idx="403">
                  <c:v>79.41</c:v>
                </c:pt>
                <c:pt idx="404">
                  <c:v>83.39</c:v>
                </c:pt>
                <c:pt idx="405">
                  <c:v>85.86</c:v>
                </c:pt>
                <c:pt idx="406">
                  <c:v>86.13</c:v>
                </c:pt>
                <c:pt idx="407">
                  <c:v>86.16</c:v>
                </c:pt>
                <c:pt idx="408">
                  <c:v>90.21</c:v>
                </c:pt>
                <c:pt idx="409">
                  <c:v>92.31</c:v>
                </c:pt>
                <c:pt idx="410">
                  <c:v>97</c:v>
                </c:pt>
                <c:pt idx="411">
                  <c:v>98.39</c:v>
                </c:pt>
                <c:pt idx="412">
                  <c:v>97.11</c:v>
                </c:pt>
                <c:pt idx="413">
                  <c:v>100.82</c:v>
                </c:pt>
                <c:pt idx="414">
                  <c:v>103.19</c:v>
                </c:pt>
                <c:pt idx="415">
                  <c:v>102.29</c:v>
                </c:pt>
                <c:pt idx="416">
                  <c:v>103.53</c:v>
                </c:pt>
                <c:pt idx="417">
                  <c:v>105.02</c:v>
                </c:pt>
                <c:pt idx="418">
                  <c:v>104.84</c:v>
                </c:pt>
                <c:pt idx="419">
                  <c:v>108.39</c:v>
                </c:pt>
                <c:pt idx="420">
                  <c:v>107.24</c:v>
                </c:pt>
                <c:pt idx="421">
                  <c:v>106.66</c:v>
                </c:pt>
                <c:pt idx="422">
                  <c:v>110.64</c:v>
                </c:pt>
                <c:pt idx="423">
                  <c:v>113.3</c:v>
                </c:pt>
                <c:pt idx="424">
                  <c:v>114.81</c:v>
                </c:pt>
                <c:pt idx="425">
                  <c:v>113.41</c:v>
                </c:pt>
                <c:pt idx="426">
                  <c:v>108.61</c:v>
                </c:pt>
                <c:pt idx="427">
                  <c:v>109.41</c:v>
                </c:pt>
                <c:pt idx="428">
                  <c:v>110.54</c:v>
                </c:pt>
                <c:pt idx="429">
                  <c:v>109.75</c:v>
                </c:pt>
                <c:pt idx="430">
                  <c:v>107.89</c:v>
                </c:pt>
                <c:pt idx="431">
                  <c:v>108.59</c:v>
                </c:pt>
                <c:pt idx="432">
                  <c:v>109.58</c:v>
                </c:pt>
                <c:pt idx="433">
                  <c:v>109.53</c:v>
                </c:pt>
                <c:pt idx="434">
                  <c:v>107.33</c:v>
                </c:pt>
                <c:pt idx="435">
                  <c:v>106.72</c:v>
                </c:pt>
                <c:pt idx="436">
                  <c:v>108.07</c:v>
                </c:pt>
                <c:pt idx="437">
                  <c:v>106.92</c:v>
                </c:pt>
                <c:pt idx="438">
                  <c:v>108.57</c:v>
                </c:pt>
                <c:pt idx="439">
                  <c:v>109</c:v>
                </c:pt>
                <c:pt idx="440">
                  <c:v>109.07</c:v>
                </c:pt>
                <c:pt idx="441">
                  <c:v>109.85</c:v>
                </c:pt>
                <c:pt idx="442">
                  <c:v>109.08</c:v>
                </c:pt>
                <c:pt idx="443">
                  <c:v>109.57</c:v>
                </c:pt>
                <c:pt idx="444">
                  <c:v>106.4</c:v>
                </c:pt>
                <c:pt idx="445">
                  <c:v>107.88</c:v>
                </c:pt>
                <c:pt idx="446">
                  <c:v>106.48</c:v>
                </c:pt>
                <c:pt idx="447">
                  <c:v>107.25</c:v>
                </c:pt>
                <c:pt idx="448">
                  <c:v>106.89</c:v>
                </c:pt>
                <c:pt idx="449">
                  <c:v>112.18</c:v>
                </c:pt>
                <c:pt idx="450">
                  <c:v>111.77</c:v>
                </c:pt>
                <c:pt idx="451">
                  <c:v>108.83</c:v>
                </c:pt>
                <c:pt idx="452">
                  <c:v>111.61</c:v>
                </c:pt>
                <c:pt idx="453">
                  <c:v>109.69</c:v>
                </c:pt>
                <c:pt idx="454">
                  <c:v>111.05</c:v>
                </c:pt>
                <c:pt idx="455">
                  <c:v>108.5</c:v>
                </c:pt>
                <c:pt idx="456">
                  <c:v>105.12</c:v>
                </c:pt>
                <c:pt idx="457">
                  <c:v>105.91</c:v>
                </c:pt>
                <c:pt idx="458">
                  <c:v>106.93</c:v>
                </c:pt>
                <c:pt idx="459">
                  <c:v>109.94</c:v>
                </c:pt>
                <c:pt idx="460">
                  <c:v>111.28</c:v>
                </c:pt>
                <c:pt idx="461">
                  <c:v>109.46</c:v>
                </c:pt>
                <c:pt idx="462">
                  <c:v>108.63</c:v>
                </c:pt>
                <c:pt idx="463">
                  <c:v>109.22</c:v>
                </c:pt>
                <c:pt idx="464">
                  <c:v>112.78</c:v>
                </c:pt>
                <c:pt idx="465">
                  <c:v>116.12</c:v>
                </c:pt>
                <c:pt idx="466">
                  <c:v>114.01</c:v>
                </c:pt>
                <c:pt idx="467">
                  <c:v>111.04</c:v>
                </c:pt>
                <c:pt idx="468">
                  <c:v>110.4</c:v>
                </c:pt>
                <c:pt idx="469">
                  <c:v>108.22</c:v>
                </c:pt>
                <c:pt idx="470">
                  <c:v>108.95</c:v>
                </c:pt>
                <c:pt idx="471">
                  <c:v>107.17</c:v>
                </c:pt>
                <c:pt idx="472">
                  <c:v>108.07</c:v>
                </c:pt>
                <c:pt idx="473">
                  <c:v>108.81</c:v>
                </c:pt>
                <c:pt idx="474">
                  <c:v>107.72</c:v>
                </c:pt>
                <c:pt idx="475">
                  <c:v>102.16</c:v>
                </c:pt>
                <c:pt idx="476">
                  <c:v>100.91</c:v>
                </c:pt>
                <c:pt idx="477">
                  <c:v>105.93</c:v>
                </c:pt>
                <c:pt idx="478">
                  <c:v>104.56</c:v>
                </c:pt>
                <c:pt idx="479">
                  <c:v>100.39</c:v>
                </c:pt>
                <c:pt idx="480">
                  <c:v>102.64</c:v>
                </c:pt>
                <c:pt idx="481">
                  <c:v>104.64</c:v>
                </c:pt>
                <c:pt idx="482">
                  <c:v>103.91</c:v>
                </c:pt>
                <c:pt idx="483">
                  <c:v>104.19</c:v>
                </c:pt>
                <c:pt idx="484">
                  <c:v>103.16</c:v>
                </c:pt>
                <c:pt idx="485">
                  <c:v>99.65</c:v>
                </c:pt>
                <c:pt idx="486">
                  <c:v>103.11</c:v>
                </c:pt>
                <c:pt idx="487">
                  <c:v>104.12</c:v>
                </c:pt>
                <c:pt idx="488">
                  <c:v>110.02</c:v>
                </c:pt>
                <c:pt idx="489">
                  <c:v>107.66</c:v>
                </c:pt>
                <c:pt idx="490">
                  <c:v>109.82</c:v>
                </c:pt>
                <c:pt idx="491">
                  <c:v>110.85</c:v>
                </c:pt>
                <c:pt idx="492">
                  <c:v>110.4</c:v>
                </c:pt>
                <c:pt idx="493">
                  <c:v>114.1</c:v>
                </c:pt>
                <c:pt idx="494">
                  <c:v>117.66</c:v>
                </c:pt>
                <c:pt idx="495">
                  <c:v>118.9</c:v>
                </c:pt>
                <c:pt idx="496">
                  <c:v>116.76</c:v>
                </c:pt>
                <c:pt idx="497">
                  <c:v>113.28</c:v>
                </c:pt>
                <c:pt idx="498">
                  <c:v>111.89</c:v>
                </c:pt>
                <c:pt idx="499">
                  <c:v>110.64</c:v>
                </c:pt>
                <c:pt idx="500">
                  <c:v>111.31</c:v>
                </c:pt>
                <c:pt idx="501">
                  <c:v>110.62</c:v>
                </c:pt>
                <c:pt idx="502">
                  <c:v>108.97</c:v>
                </c:pt>
                <c:pt idx="503">
                  <c:v>109.15</c:v>
                </c:pt>
                <c:pt idx="504">
                  <c:v>107.02</c:v>
                </c:pt>
                <c:pt idx="505">
                  <c:v>111.23</c:v>
                </c:pt>
                <c:pt idx="506">
                  <c:v>111.38</c:v>
                </c:pt>
                <c:pt idx="507">
                  <c:v>108.95</c:v>
                </c:pt>
                <c:pt idx="508">
                  <c:v>109.4</c:v>
                </c:pt>
                <c:pt idx="509">
                  <c:v>105.68</c:v>
                </c:pt>
                <c:pt idx="510">
                  <c:v>109.55</c:v>
                </c:pt>
                <c:pt idx="511">
                  <c:v>110.14</c:v>
                </c:pt>
                <c:pt idx="512">
                  <c:v>114.62</c:v>
                </c:pt>
                <c:pt idx="513">
                  <c:v>112.02</c:v>
                </c:pt>
                <c:pt idx="514">
                  <c:v>112.39</c:v>
                </c:pt>
                <c:pt idx="515">
                  <c:v>111.42</c:v>
                </c:pt>
                <c:pt idx="516">
                  <c:v>116.66</c:v>
                </c:pt>
                <c:pt idx="517">
                  <c:v>114.25</c:v>
                </c:pt>
                <c:pt idx="518">
                  <c:v>114.57</c:v>
                </c:pt>
                <c:pt idx="519">
                  <c:v>113.59</c:v>
                </c:pt>
                <c:pt idx="520">
                  <c:v>113.71</c:v>
                </c:pt>
                <c:pt idx="521">
                  <c:v>112.95</c:v>
                </c:pt>
                <c:pt idx="522">
                  <c:v>108.94</c:v>
                </c:pt>
                <c:pt idx="523">
                  <c:v>106.47</c:v>
                </c:pt>
                <c:pt idx="524">
                  <c:v>106.83</c:v>
                </c:pt>
                <c:pt idx="525">
                  <c:v>102.4</c:v>
                </c:pt>
                <c:pt idx="526">
                  <c:v>98.19</c:v>
                </c:pt>
                <c:pt idx="527">
                  <c:v>97.8</c:v>
                </c:pt>
                <c:pt idx="528">
                  <c:v>90.98</c:v>
                </c:pt>
                <c:pt idx="529">
                  <c:v>97.61</c:v>
                </c:pt>
                <c:pt idx="530">
                  <c:v>99.47</c:v>
                </c:pt>
                <c:pt idx="531">
                  <c:v>98.43</c:v>
                </c:pt>
                <c:pt idx="532">
                  <c:v>106.83</c:v>
                </c:pt>
                <c:pt idx="533">
                  <c:v>107.14</c:v>
                </c:pt>
                <c:pt idx="534">
                  <c:v>112.26</c:v>
                </c:pt>
                <c:pt idx="535">
                  <c:v>113.18</c:v>
                </c:pt>
                <c:pt idx="536">
                  <c:v>119.83</c:v>
                </c:pt>
                <c:pt idx="537">
                  <c:v>118.76</c:v>
                </c:pt>
                <c:pt idx="538">
                  <c:v>121.83</c:v>
                </c:pt>
                <c:pt idx="539">
                  <c:v>123.43</c:v>
                </c:pt>
                <c:pt idx="540">
                  <c:v>122.88</c:v>
                </c:pt>
                <c:pt idx="541">
                  <c:v>125.13</c:v>
                </c:pt>
                <c:pt idx="542">
                  <c:v>125.81</c:v>
                </c:pt>
                <c:pt idx="543">
                  <c:v>125.98</c:v>
                </c:pt>
                <c:pt idx="544">
                  <c:v>123.65</c:v>
                </c:pt>
                <c:pt idx="545">
                  <c:v>125.47</c:v>
                </c:pt>
                <c:pt idx="546">
                  <c:v>119.58</c:v>
                </c:pt>
                <c:pt idx="547">
                  <c:v>117.31</c:v>
                </c:pt>
                <c:pt idx="548">
                  <c:v>114.58</c:v>
                </c:pt>
                <c:pt idx="549">
                  <c:v>111.46</c:v>
                </c:pt>
                <c:pt idx="550">
                  <c:v>109.86</c:v>
                </c:pt>
                <c:pt idx="551">
                  <c:v>110.44</c:v>
                </c:pt>
                <c:pt idx="552">
                  <c:v>113.06</c:v>
                </c:pt>
                <c:pt idx="553">
                  <c:v>107.38</c:v>
                </c:pt>
                <c:pt idx="554">
                  <c:v>107.96</c:v>
                </c:pt>
                <c:pt idx="555">
                  <c:v>103.35</c:v>
                </c:pt>
                <c:pt idx="556">
                  <c:v>108.62</c:v>
                </c:pt>
                <c:pt idx="557">
                  <c:v>109.94</c:v>
                </c:pt>
                <c:pt idx="558">
                  <c:v>106.4</c:v>
                </c:pt>
                <c:pt idx="559">
                  <c:v>107.56</c:v>
                </c:pt>
                <c:pt idx="560">
                  <c:v>114.16</c:v>
                </c:pt>
                <c:pt idx="561">
                  <c:v>111.97</c:v>
                </c:pt>
                <c:pt idx="562">
                  <c:v>109.91</c:v>
                </c:pt>
                <c:pt idx="563">
                  <c:v>109.56</c:v>
                </c:pt>
                <c:pt idx="564">
                  <c:v>114.68</c:v>
                </c:pt>
                <c:pt idx="565">
                  <c:v>105.88</c:v>
                </c:pt>
                <c:pt idx="566">
                  <c:v>102.76</c:v>
                </c:pt>
                <c:pt idx="567">
                  <c:v>103.97</c:v>
                </c:pt>
                <c:pt idx="568">
                  <c:v>112.22</c:v>
                </c:pt>
                <c:pt idx="569">
                  <c:v>112.77</c:v>
                </c:pt>
                <c:pt idx="570">
                  <c:v>112.33</c:v>
                </c:pt>
                <c:pt idx="571">
                  <c:v>111.36</c:v>
                </c:pt>
                <c:pt idx="572">
                  <c:v>108.62</c:v>
                </c:pt>
                <c:pt idx="573">
                  <c:v>108.03</c:v>
                </c:pt>
                <c:pt idx="574">
                  <c:v>109.37</c:v>
                </c:pt>
                <c:pt idx="575">
                  <c:v>116.74</c:v>
                </c:pt>
                <c:pt idx="576">
                  <c:v>118.67</c:v>
                </c:pt>
                <c:pt idx="577">
                  <c:v>117.26</c:v>
                </c:pt>
                <c:pt idx="578">
                  <c:v>118.33</c:v>
                </c:pt>
                <c:pt idx="579">
                  <c:v>111.77</c:v>
                </c:pt>
                <c:pt idx="580">
                  <c:v>105.12</c:v>
                </c:pt>
                <c:pt idx="581">
                  <c:v>113.21</c:v>
                </c:pt>
                <c:pt idx="582">
                  <c:v>118.78</c:v>
                </c:pt>
                <c:pt idx="583">
                  <c:v>115.84</c:v>
                </c:pt>
                <c:pt idx="584">
                  <c:v>115.03</c:v>
                </c:pt>
                <c:pt idx="585">
                  <c:v>112.39</c:v>
                </c:pt>
                <c:pt idx="586">
                  <c:v>113.83</c:v>
                </c:pt>
                <c:pt idx="587">
                  <c:v>109.13</c:v>
                </c:pt>
                <c:pt idx="588">
                  <c:v>125.89</c:v>
                </c:pt>
                <c:pt idx="589">
                  <c:v>123.99</c:v>
                </c:pt>
                <c:pt idx="590">
                  <c:v>123.45</c:v>
                </c:pt>
                <c:pt idx="591">
                  <c:v>126.65</c:v>
                </c:pt>
                <c:pt idx="592">
                  <c:v>118.7</c:v>
                </c:pt>
                <c:pt idx="593">
                  <c:v>115.59</c:v>
                </c:pt>
                <c:pt idx="594">
                  <c:v>113.93</c:v>
                </c:pt>
                <c:pt idx="595">
                  <c:v>113.84</c:v>
                </c:pt>
                <c:pt idx="596">
                  <c:v>115.97</c:v>
                </c:pt>
                <c:pt idx="597">
                  <c:v>112.14</c:v>
                </c:pt>
                <c:pt idx="598">
                  <c:v>102.52</c:v>
                </c:pt>
                <c:pt idx="599">
                  <c:v>101.43</c:v>
                </c:pt>
                <c:pt idx="600">
                  <c:v>99.83</c:v>
                </c:pt>
                <c:pt idx="601">
                  <c:v>99.42</c:v>
                </c:pt>
                <c:pt idx="602">
                  <c:v>97.6</c:v>
                </c:pt>
                <c:pt idx="603">
                  <c:v>98.68</c:v>
                </c:pt>
                <c:pt idx="604">
                  <c:v>93.33</c:v>
                </c:pt>
                <c:pt idx="605">
                  <c:v>94.75</c:v>
                </c:pt>
                <c:pt idx="606">
                  <c:v>93.77</c:v>
                </c:pt>
                <c:pt idx="607">
                  <c:v>91.67</c:v>
                </c:pt>
                <c:pt idx="608">
                  <c:v>90.48</c:v>
                </c:pt>
                <c:pt idx="609">
                  <c:v>91.42</c:v>
                </c:pt>
                <c:pt idx="610">
                  <c:v>85.58</c:v>
                </c:pt>
                <c:pt idx="611">
                  <c:v>84.34</c:v>
                </c:pt>
                <c:pt idx="612">
                  <c:v>86.34</c:v>
                </c:pt>
                <c:pt idx="613">
                  <c:v>88.11</c:v>
                </c:pt>
                <c:pt idx="614">
                  <c:v>83.15</c:v>
                </c:pt>
                <c:pt idx="615">
                  <c:v>82.96</c:v>
                </c:pt>
                <c:pt idx="616">
                  <c:v>82.45</c:v>
                </c:pt>
                <c:pt idx="617">
                  <c:v>84.03</c:v>
                </c:pt>
                <c:pt idx="618">
                  <c:v>83.75</c:v>
                </c:pt>
                <c:pt idx="619">
                  <c:v>78.87</c:v>
                </c:pt>
                <c:pt idx="620">
                  <c:v>78.209999999999994</c:v>
                </c:pt>
                <c:pt idx="621">
                  <c:v>78.16</c:v>
                </c:pt>
                <c:pt idx="622">
                  <c:v>76.67</c:v>
                </c:pt>
                <c:pt idx="623">
                  <c:v>76.650000000000006</c:v>
                </c:pt>
                <c:pt idx="624">
                  <c:v>74.260000000000005</c:v>
                </c:pt>
                <c:pt idx="625">
                  <c:v>75.11</c:v>
                </c:pt>
                <c:pt idx="626">
                  <c:v>80.16</c:v>
                </c:pt>
                <c:pt idx="627">
                  <c:v>78.180000000000007</c:v>
                </c:pt>
                <c:pt idx="628">
                  <c:v>77.45</c:v>
                </c:pt>
                <c:pt idx="629">
                  <c:v>75.37</c:v>
                </c:pt>
                <c:pt idx="630">
                  <c:v>75.42</c:v>
                </c:pt>
                <c:pt idx="631">
                  <c:v>71.650000000000006</c:v>
                </c:pt>
                <c:pt idx="632">
                  <c:v>78.12</c:v>
                </c:pt>
                <c:pt idx="633">
                  <c:v>78.22</c:v>
                </c:pt>
                <c:pt idx="634">
                  <c:v>74.349999999999994</c:v>
                </c:pt>
                <c:pt idx="635">
                  <c:v>72.09</c:v>
                </c:pt>
                <c:pt idx="636">
                  <c:v>74.02</c:v>
                </c:pt>
                <c:pt idx="637">
                  <c:v>71.680000000000007</c:v>
                </c:pt>
                <c:pt idx="638">
                  <c:v>77.180000000000007</c:v>
                </c:pt>
                <c:pt idx="639">
                  <c:v>78.27</c:v>
                </c:pt>
                <c:pt idx="640">
                  <c:v>87.44</c:v>
                </c:pt>
                <c:pt idx="641">
                  <c:v>87.25</c:v>
                </c:pt>
                <c:pt idx="642">
                  <c:v>85.99</c:v>
                </c:pt>
                <c:pt idx="643">
                  <c:v>84.83</c:v>
                </c:pt>
                <c:pt idx="644">
                  <c:v>84.01</c:v>
                </c:pt>
                <c:pt idx="645">
                  <c:v>79.290000000000006</c:v>
                </c:pt>
                <c:pt idx="646">
                  <c:v>79.88</c:v>
                </c:pt>
                <c:pt idx="647">
                  <c:v>79.39</c:v>
                </c:pt>
                <c:pt idx="648">
                  <c:v>79.89</c:v>
                </c:pt>
                <c:pt idx="649">
                  <c:v>77.59</c:v>
                </c:pt>
                <c:pt idx="650">
                  <c:v>78.19</c:v>
                </c:pt>
                <c:pt idx="651">
                  <c:v>72.900000000000006</c:v>
                </c:pt>
                <c:pt idx="652">
                  <c:v>69.59</c:v>
                </c:pt>
                <c:pt idx="653">
                  <c:v>71.459999999999994</c:v>
                </c:pt>
                <c:pt idx="654">
                  <c:v>72.83</c:v>
                </c:pt>
                <c:pt idx="655">
                  <c:v>77.11</c:v>
                </c:pt>
                <c:pt idx="656">
                  <c:v>81.37</c:v>
                </c:pt>
                <c:pt idx="657">
                  <c:v>77.930000000000007</c:v>
                </c:pt>
                <c:pt idx="658">
                  <c:v>76.31</c:v>
                </c:pt>
                <c:pt idx="659">
                  <c:v>73.75</c:v>
                </c:pt>
                <c:pt idx="660">
                  <c:v>71.88</c:v>
                </c:pt>
                <c:pt idx="661">
                  <c:v>77.52</c:v>
                </c:pt>
                <c:pt idx="662">
                  <c:v>77.180000000000007</c:v>
                </c:pt>
                <c:pt idx="663">
                  <c:v>77.2</c:v>
                </c:pt>
                <c:pt idx="664">
                  <c:v>75.55</c:v>
                </c:pt>
                <c:pt idx="665">
                  <c:v>75.87</c:v>
                </c:pt>
                <c:pt idx="666">
                  <c:v>75.2</c:v>
                </c:pt>
                <c:pt idx="667">
                  <c:v>78.92</c:v>
                </c:pt>
                <c:pt idx="668">
                  <c:v>76.989999999999995</c:v>
                </c:pt>
                <c:pt idx="669">
                  <c:v>70</c:v>
                </c:pt>
                <c:pt idx="670">
                  <c:v>68.069999999999993</c:v>
                </c:pt>
                <c:pt idx="671">
                  <c:v>65.11</c:v>
                </c:pt>
                <c:pt idx="672">
                  <c:v>71.319999999999993</c:v>
                </c:pt>
                <c:pt idx="673">
                  <c:v>67.69</c:v>
                </c:pt>
                <c:pt idx="674">
                  <c:v>66.819999999999993</c:v>
                </c:pt>
                <c:pt idx="675">
                  <c:v>72.790000000000006</c:v>
                </c:pt>
                <c:pt idx="676">
                  <c:v>74.19</c:v>
                </c:pt>
                <c:pt idx="677">
                  <c:v>72.41</c:v>
                </c:pt>
                <c:pt idx="678">
                  <c:v>73.59</c:v>
                </c:pt>
                <c:pt idx="679">
                  <c:v>71.7</c:v>
                </c:pt>
                <c:pt idx="680">
                  <c:v>70.319999999999993</c:v>
                </c:pt>
                <c:pt idx="681">
                  <c:v>65.38</c:v>
                </c:pt>
                <c:pt idx="682">
                  <c:v>60.52</c:v>
                </c:pt>
                <c:pt idx="683">
                  <c:v>65.61</c:v>
                </c:pt>
                <c:pt idx="684">
                  <c:v>68.92</c:v>
                </c:pt>
                <c:pt idx="685">
                  <c:v>69.19</c:v>
                </c:pt>
                <c:pt idx="686">
                  <c:v>70.92</c:v>
                </c:pt>
                <c:pt idx="687">
                  <c:v>68.34</c:v>
                </c:pt>
                <c:pt idx="688">
                  <c:v>65.52</c:v>
                </c:pt>
                <c:pt idx="689">
                  <c:v>60.78</c:v>
                </c:pt>
                <c:pt idx="690">
                  <c:v>55.98</c:v>
                </c:pt>
                <c:pt idx="691">
                  <c:v>58.14</c:v>
                </c:pt>
                <c:pt idx="692">
                  <c:v>52.85</c:v>
                </c:pt>
                <c:pt idx="693">
                  <c:v>51.67</c:v>
                </c:pt>
                <c:pt idx="694">
                  <c:v>53.35</c:v>
                </c:pt>
                <c:pt idx="695">
                  <c:v>54.06</c:v>
                </c:pt>
                <c:pt idx="696">
                  <c:v>53.47</c:v>
                </c:pt>
                <c:pt idx="697">
                  <c:v>51.98</c:v>
                </c:pt>
                <c:pt idx="698">
                  <c:v>51.22</c:v>
                </c:pt>
                <c:pt idx="699">
                  <c:v>44.93</c:v>
                </c:pt>
                <c:pt idx="700">
                  <c:v>44.85</c:v>
                </c:pt>
                <c:pt idx="701">
                  <c:v>46.35</c:v>
                </c:pt>
                <c:pt idx="702">
                  <c:v>41.89</c:v>
                </c:pt>
                <c:pt idx="703">
                  <c:v>44.81</c:v>
                </c:pt>
                <c:pt idx="704">
                  <c:v>46.21</c:v>
                </c:pt>
                <c:pt idx="705">
                  <c:v>45.88</c:v>
                </c:pt>
                <c:pt idx="706">
                  <c:v>48.37</c:v>
                </c:pt>
                <c:pt idx="707">
                  <c:v>46.57</c:v>
                </c:pt>
                <c:pt idx="708">
                  <c:v>44.42</c:v>
                </c:pt>
                <c:pt idx="709">
                  <c:v>46.91</c:v>
                </c:pt>
                <c:pt idx="710">
                  <c:v>38.369999999999997</c:v>
                </c:pt>
                <c:pt idx="711">
                  <c:v>44</c:v>
                </c:pt>
                <c:pt idx="712">
                  <c:v>46.41</c:v>
                </c:pt>
                <c:pt idx="713">
                  <c:v>39.74</c:v>
                </c:pt>
                <c:pt idx="714">
                  <c:v>53.49</c:v>
                </c:pt>
                <c:pt idx="715">
                  <c:v>49.19</c:v>
                </c:pt>
                <c:pt idx="716">
                  <c:v>54.24</c:v>
                </c:pt>
                <c:pt idx="717">
                  <c:v>57.35</c:v>
                </c:pt>
                <c:pt idx="718">
                  <c:v>65.319999999999993</c:v>
                </c:pt>
                <c:pt idx="719">
                  <c:v>62.05</c:v>
                </c:pt>
                <c:pt idx="720">
                  <c:v>69.599999999999994</c:v>
                </c:pt>
                <c:pt idx="721">
                  <c:v>74.09</c:v>
                </c:pt>
                <c:pt idx="722">
                  <c:v>90.25</c:v>
                </c:pt>
                <c:pt idx="723">
                  <c:v>103.54</c:v>
                </c:pt>
                <c:pt idx="724">
                  <c:v>99.61</c:v>
                </c:pt>
                <c:pt idx="725">
                  <c:v>97.58</c:v>
                </c:pt>
                <c:pt idx="726">
                  <c:v>104.09</c:v>
                </c:pt>
                <c:pt idx="727">
                  <c:v>114.05</c:v>
                </c:pt>
                <c:pt idx="728">
                  <c:v>113.92</c:v>
                </c:pt>
                <c:pt idx="729">
                  <c:v>112.55</c:v>
                </c:pt>
                <c:pt idx="730">
                  <c:v>113.33</c:v>
                </c:pt>
                <c:pt idx="731">
                  <c:v>124.18</c:v>
                </c:pt>
                <c:pt idx="732">
                  <c:v>124.52</c:v>
                </c:pt>
                <c:pt idx="733">
                  <c:v>130.19</c:v>
                </c:pt>
                <c:pt idx="734">
                  <c:v>144.49</c:v>
                </c:pt>
                <c:pt idx="735">
                  <c:v>144.41999999999999</c:v>
                </c:pt>
                <c:pt idx="736">
                  <c:v>140.31</c:v>
                </c:pt>
                <c:pt idx="737">
                  <c:v>134.86000000000001</c:v>
                </c:pt>
                <c:pt idx="738">
                  <c:v>134.25</c:v>
                </c:pt>
                <c:pt idx="739">
                  <c:v>137.69</c:v>
                </c:pt>
                <c:pt idx="740">
                  <c:v>127.78</c:v>
                </c:pt>
                <c:pt idx="741">
                  <c:v>131.57</c:v>
                </c:pt>
                <c:pt idx="742">
                  <c:v>124.99</c:v>
                </c:pt>
                <c:pt idx="743">
                  <c:v>125.4</c:v>
                </c:pt>
                <c:pt idx="744">
                  <c:v>114.56</c:v>
                </c:pt>
                <c:pt idx="745">
                  <c:v>116.34</c:v>
                </c:pt>
                <c:pt idx="746">
                  <c:v>113.92</c:v>
                </c:pt>
                <c:pt idx="747">
                  <c:v>108.75</c:v>
                </c:pt>
                <c:pt idx="748">
                  <c:v>104.9</c:v>
                </c:pt>
                <c:pt idx="749">
                  <c:v>103.77</c:v>
                </c:pt>
                <c:pt idx="750">
                  <c:v>100.38</c:v>
                </c:pt>
                <c:pt idx="751">
                  <c:v>107.55</c:v>
                </c:pt>
                <c:pt idx="752">
                  <c:v>102.38</c:v>
                </c:pt>
                <c:pt idx="753">
                  <c:v>100.1</c:v>
                </c:pt>
                <c:pt idx="754">
                  <c:v>97.01</c:v>
                </c:pt>
                <c:pt idx="755">
                  <c:v>94.63</c:v>
                </c:pt>
                <c:pt idx="756">
                  <c:v>91.94</c:v>
                </c:pt>
                <c:pt idx="757">
                  <c:v>89.44</c:v>
                </c:pt>
                <c:pt idx="758">
                  <c:v>90.9</c:v>
                </c:pt>
                <c:pt idx="759">
                  <c:v>89.23</c:v>
                </c:pt>
                <c:pt idx="760">
                  <c:v>91.07</c:v>
                </c:pt>
                <c:pt idx="761">
                  <c:v>96.79</c:v>
                </c:pt>
                <c:pt idx="762">
                  <c:v>93.88</c:v>
                </c:pt>
                <c:pt idx="763">
                  <c:v>92.46</c:v>
                </c:pt>
                <c:pt idx="764">
                  <c:v>92.67</c:v>
                </c:pt>
                <c:pt idx="765">
                  <c:v>88.64</c:v>
                </c:pt>
                <c:pt idx="766">
                  <c:v>88.26</c:v>
                </c:pt>
                <c:pt idx="767">
                  <c:v>95.76</c:v>
                </c:pt>
                <c:pt idx="768">
                  <c:v>91.62</c:v>
                </c:pt>
                <c:pt idx="769">
                  <c:v>93.18</c:v>
                </c:pt>
                <c:pt idx="770">
                  <c:v>92.08</c:v>
                </c:pt>
                <c:pt idx="771">
                  <c:v>88.69</c:v>
                </c:pt>
                <c:pt idx="772">
                  <c:v>83.79</c:v>
                </c:pt>
                <c:pt idx="773">
                  <c:v>80.55</c:v>
                </c:pt>
                <c:pt idx="774">
                  <c:v>78.900000000000006</c:v>
                </c:pt>
                <c:pt idx="775">
                  <c:v>79.17</c:v>
                </c:pt>
                <c:pt idx="776">
                  <c:v>79.3</c:v>
                </c:pt>
                <c:pt idx="777">
                  <c:v>76.22</c:v>
                </c:pt>
                <c:pt idx="778">
                  <c:v>75.069999999999993</c:v>
                </c:pt>
                <c:pt idx="779">
                  <c:v>72.69</c:v>
                </c:pt>
                <c:pt idx="780">
                  <c:v>70.62</c:v>
                </c:pt>
                <c:pt idx="781">
                  <c:v>70.44</c:v>
                </c:pt>
                <c:pt idx="782">
                  <c:v>70.39</c:v>
                </c:pt>
                <c:pt idx="783">
                  <c:v>74.75</c:v>
                </c:pt>
                <c:pt idx="784">
                  <c:v>76.260000000000005</c:v>
                </c:pt>
                <c:pt idx="785">
                  <c:v>77.64</c:v>
                </c:pt>
                <c:pt idx="786">
                  <c:v>77.569999999999993</c:v>
                </c:pt>
                <c:pt idx="787">
                  <c:v>75.62</c:v>
                </c:pt>
                <c:pt idx="788">
                  <c:v>71.41</c:v>
                </c:pt>
                <c:pt idx="789">
                  <c:v>71.180000000000007</c:v>
                </c:pt>
                <c:pt idx="790">
                  <c:v>71.47</c:v>
                </c:pt>
                <c:pt idx="791">
                  <c:v>68.599999999999994</c:v>
                </c:pt>
                <c:pt idx="792">
                  <c:v>69.069999999999993</c:v>
                </c:pt>
                <c:pt idx="793">
                  <c:v>70.69</c:v>
                </c:pt>
                <c:pt idx="794">
                  <c:v>69.42</c:v>
                </c:pt>
                <c:pt idx="795">
                  <c:v>66.83</c:v>
                </c:pt>
                <c:pt idx="796">
                  <c:v>65.31</c:v>
                </c:pt>
                <c:pt idx="797">
                  <c:v>68.41</c:v>
                </c:pt>
                <c:pt idx="798">
                  <c:v>66.489999999999995</c:v>
                </c:pt>
                <c:pt idx="799">
                  <c:v>68.97</c:v>
                </c:pt>
                <c:pt idx="800">
                  <c:v>68.239999999999995</c:v>
                </c:pt>
                <c:pt idx="801">
                  <c:v>68.099999999999994</c:v>
                </c:pt>
                <c:pt idx="802">
                  <c:v>63.18</c:v>
                </c:pt>
                <c:pt idx="803">
                  <c:v>60.3</c:v>
                </c:pt>
                <c:pt idx="804">
                  <c:v>61.13</c:v>
                </c:pt>
                <c:pt idx="805">
                  <c:v>62.08</c:v>
                </c:pt>
                <c:pt idx="806">
                  <c:v>60.88</c:v>
                </c:pt>
                <c:pt idx="807">
                  <c:v>58.95</c:v>
                </c:pt>
                <c:pt idx="808">
                  <c:v>59.01</c:v>
                </c:pt>
                <c:pt idx="809">
                  <c:v>58.41</c:v>
                </c:pt>
                <c:pt idx="810">
                  <c:v>55.29</c:v>
                </c:pt>
                <c:pt idx="811">
                  <c:v>53.44</c:v>
                </c:pt>
                <c:pt idx="812">
                  <c:v>52.95</c:v>
                </c:pt>
                <c:pt idx="813">
                  <c:v>55.64</c:v>
                </c:pt>
                <c:pt idx="814">
                  <c:v>60.86</c:v>
                </c:pt>
                <c:pt idx="815">
                  <c:v>62.42</c:v>
                </c:pt>
                <c:pt idx="816">
                  <c:v>63.49</c:v>
                </c:pt>
                <c:pt idx="817">
                  <c:v>62.2</c:v>
                </c:pt>
                <c:pt idx="818">
                  <c:v>64.62</c:v>
                </c:pt>
                <c:pt idx="819">
                  <c:v>60.03</c:v>
                </c:pt>
                <c:pt idx="820">
                  <c:v>58.99</c:v>
                </c:pt>
                <c:pt idx="821">
                  <c:v>59.71</c:v>
                </c:pt>
                <c:pt idx="822">
                  <c:v>59.15</c:v>
                </c:pt>
                <c:pt idx="823">
                  <c:v>61.08</c:v>
                </c:pt>
                <c:pt idx="824">
                  <c:v>59.68</c:v>
                </c:pt>
                <c:pt idx="825">
                  <c:v>59.52</c:v>
                </c:pt>
                <c:pt idx="826">
                  <c:v>59.83</c:v>
                </c:pt>
                <c:pt idx="827">
                  <c:v>62.48</c:v>
                </c:pt>
                <c:pt idx="828">
                  <c:v>60.41</c:v>
                </c:pt>
                <c:pt idx="829">
                  <c:v>63.33</c:v>
                </c:pt>
                <c:pt idx="830">
                  <c:v>65.33</c:v>
                </c:pt>
                <c:pt idx="831">
                  <c:v>69.150000000000006</c:v>
                </c:pt>
                <c:pt idx="832">
                  <c:v>72.7</c:v>
                </c:pt>
                <c:pt idx="833">
                  <c:v>72.3</c:v>
                </c:pt>
                <c:pt idx="834">
                  <c:v>75.63</c:v>
                </c:pt>
                <c:pt idx="835">
                  <c:v>76.17</c:v>
                </c:pt>
                <c:pt idx="836">
                  <c:v>73.39</c:v>
                </c:pt>
                <c:pt idx="837">
                  <c:v>73.75</c:v>
                </c:pt>
                <c:pt idx="838">
                  <c:v>77.27</c:v>
                </c:pt>
                <c:pt idx="839">
                  <c:v>73.510000000000005</c:v>
                </c:pt>
                <c:pt idx="840">
                  <c:v>73.510000000000005</c:v>
                </c:pt>
                <c:pt idx="841">
                  <c:v>69.930000000000007</c:v>
                </c:pt>
                <c:pt idx="842">
                  <c:v>68.8</c:v>
                </c:pt>
                <c:pt idx="843">
                  <c:v>70.48</c:v>
                </c:pt>
                <c:pt idx="844">
                  <c:v>71.03</c:v>
                </c:pt>
                <c:pt idx="845">
                  <c:v>70.59</c:v>
                </c:pt>
                <c:pt idx="846">
                  <c:v>68.680000000000007</c:v>
                </c:pt>
                <c:pt idx="847">
                  <c:v>72.180000000000007</c:v>
                </c:pt>
                <c:pt idx="848">
                  <c:v>70.88</c:v>
                </c:pt>
                <c:pt idx="849">
                  <c:v>72.5</c:v>
                </c:pt>
                <c:pt idx="850">
                  <c:v>74.17</c:v>
                </c:pt>
                <c:pt idx="851">
                  <c:v>70.14</c:v>
                </c:pt>
                <c:pt idx="852">
                  <c:v>67.290000000000006</c:v>
                </c:pt>
                <c:pt idx="853">
                  <c:v>65.91</c:v>
                </c:pt>
                <c:pt idx="854">
                  <c:v>63.51</c:v>
                </c:pt>
                <c:pt idx="855">
                  <c:v>63.26</c:v>
                </c:pt>
                <c:pt idx="856">
                  <c:v>60.83</c:v>
                </c:pt>
                <c:pt idx="857">
                  <c:v>64.180000000000007</c:v>
                </c:pt>
                <c:pt idx="858">
                  <c:v>62.6</c:v>
                </c:pt>
                <c:pt idx="859">
                  <c:v>59.89</c:v>
                </c:pt>
                <c:pt idx="860">
                  <c:v>59.64</c:v>
                </c:pt>
                <c:pt idx="861">
                  <c:v>63.39</c:v>
                </c:pt>
                <c:pt idx="862">
                  <c:v>66.239999999999995</c:v>
                </c:pt>
                <c:pt idx="863">
                  <c:v>66.430000000000007</c:v>
                </c:pt>
                <c:pt idx="864">
                  <c:v>62.26</c:v>
                </c:pt>
                <c:pt idx="865">
                  <c:v>62.72</c:v>
                </c:pt>
                <c:pt idx="866">
                  <c:v>58.98</c:v>
                </c:pt>
                <c:pt idx="867">
                  <c:v>56.69</c:v>
                </c:pt>
                <c:pt idx="868">
                  <c:v>57.13</c:v>
                </c:pt>
                <c:pt idx="869">
                  <c:v>57.31</c:v>
                </c:pt>
                <c:pt idx="870">
                  <c:v>57.05</c:v>
                </c:pt>
                <c:pt idx="871">
                  <c:v>55.01</c:v>
                </c:pt>
                <c:pt idx="872">
                  <c:v>54.88</c:v>
                </c:pt>
                <c:pt idx="873">
                  <c:v>54.99</c:v>
                </c:pt>
                <c:pt idx="874">
                  <c:v>59.25</c:v>
                </c:pt>
                <c:pt idx="875">
                  <c:v>59.42</c:v>
                </c:pt>
                <c:pt idx="876">
                  <c:v>58.48</c:v>
                </c:pt>
                <c:pt idx="877">
                  <c:v>59.35</c:v>
                </c:pt>
                <c:pt idx="878">
                  <c:v>59.21</c:v>
                </c:pt>
                <c:pt idx="879">
                  <c:v>63.48</c:v>
                </c:pt>
                <c:pt idx="880">
                  <c:v>62.44</c:v>
                </c:pt>
                <c:pt idx="881">
                  <c:v>61.81</c:v>
                </c:pt>
                <c:pt idx="882">
                  <c:v>62.84</c:v>
                </c:pt>
                <c:pt idx="883">
                  <c:v>66.06</c:v>
                </c:pt>
                <c:pt idx="884">
                  <c:v>64.87</c:v>
                </c:pt>
                <c:pt idx="885">
                  <c:v>64.36</c:v>
                </c:pt>
                <c:pt idx="886">
                  <c:v>66.45</c:v>
                </c:pt>
                <c:pt idx="887">
                  <c:v>61.07</c:v>
                </c:pt>
                <c:pt idx="888">
                  <c:v>59.37</c:v>
                </c:pt>
                <c:pt idx="889">
                  <c:v>57.58</c:v>
                </c:pt>
                <c:pt idx="890">
                  <c:v>57.61</c:v>
                </c:pt>
                <c:pt idx="891">
                  <c:v>58.2</c:v>
                </c:pt>
                <c:pt idx="892">
                  <c:v>57.54</c:v>
                </c:pt>
                <c:pt idx="893">
                  <c:v>58.36</c:v>
                </c:pt>
                <c:pt idx="894">
                  <c:v>57.76</c:v>
                </c:pt>
                <c:pt idx="895">
                  <c:v>52.67</c:v>
                </c:pt>
                <c:pt idx="896">
                  <c:v>54.17</c:v>
                </c:pt>
                <c:pt idx="897">
                  <c:v>50.7</c:v>
                </c:pt>
                <c:pt idx="898">
                  <c:v>48.03</c:v>
                </c:pt>
                <c:pt idx="899">
                  <c:v>48.66</c:v>
                </c:pt>
                <c:pt idx="900">
                  <c:v>50.77</c:v>
                </c:pt>
                <c:pt idx="901">
                  <c:v>51.09</c:v>
                </c:pt>
                <c:pt idx="902">
                  <c:v>54.97</c:v>
                </c:pt>
                <c:pt idx="903">
                  <c:v>51.61</c:v>
                </c:pt>
                <c:pt idx="904">
                  <c:v>52.89</c:v>
                </c:pt>
                <c:pt idx="905">
                  <c:v>56.51</c:v>
                </c:pt>
                <c:pt idx="906">
                  <c:v>53.93</c:v>
                </c:pt>
                <c:pt idx="907">
                  <c:v>55.59</c:v>
                </c:pt>
                <c:pt idx="908">
                  <c:v>53.1</c:v>
                </c:pt>
                <c:pt idx="909">
                  <c:v>51.8</c:v>
                </c:pt>
                <c:pt idx="910">
                  <c:v>49.61</c:v>
                </c:pt>
                <c:pt idx="911">
                  <c:v>46.34</c:v>
                </c:pt>
                <c:pt idx="912">
                  <c:v>44.8</c:v>
                </c:pt>
                <c:pt idx="913">
                  <c:v>43.89</c:v>
                </c:pt>
                <c:pt idx="914">
                  <c:v>44.95</c:v>
                </c:pt>
                <c:pt idx="915">
                  <c:v>45.73</c:v>
                </c:pt>
                <c:pt idx="916">
                  <c:v>45.15</c:v>
                </c:pt>
                <c:pt idx="917">
                  <c:v>43.18</c:v>
                </c:pt>
                <c:pt idx="918">
                  <c:v>40.46</c:v>
                </c:pt>
                <c:pt idx="919">
                  <c:v>40.07</c:v>
                </c:pt>
                <c:pt idx="920">
                  <c:v>43.39</c:v>
                </c:pt>
                <c:pt idx="921">
                  <c:v>37.380000000000003</c:v>
                </c:pt>
                <c:pt idx="922">
                  <c:v>39.36</c:v>
                </c:pt>
                <c:pt idx="923">
                  <c:v>44.57</c:v>
                </c:pt>
                <c:pt idx="924">
                  <c:v>44.89</c:v>
                </c:pt>
                <c:pt idx="925">
                  <c:v>42.31</c:v>
                </c:pt>
                <c:pt idx="926">
                  <c:v>46.42</c:v>
                </c:pt>
                <c:pt idx="927">
                  <c:v>48.98</c:v>
                </c:pt>
                <c:pt idx="928">
                  <c:v>51.22</c:v>
                </c:pt>
                <c:pt idx="929">
                  <c:v>49.93</c:v>
                </c:pt>
                <c:pt idx="930">
                  <c:v>49.71</c:v>
                </c:pt>
                <c:pt idx="931">
                  <c:v>46.62</c:v>
                </c:pt>
                <c:pt idx="932">
                  <c:v>45.33</c:v>
                </c:pt>
                <c:pt idx="933">
                  <c:v>42.45</c:v>
                </c:pt>
                <c:pt idx="934">
                  <c:v>40.200000000000003</c:v>
                </c:pt>
                <c:pt idx="935">
                  <c:v>41.23</c:v>
                </c:pt>
                <c:pt idx="936">
                  <c:v>40.64</c:v>
                </c:pt>
                <c:pt idx="937">
                  <c:v>43.54</c:v>
                </c:pt>
                <c:pt idx="938">
                  <c:v>43.88</c:v>
                </c:pt>
                <c:pt idx="939">
                  <c:v>40.630000000000003</c:v>
                </c:pt>
                <c:pt idx="940">
                  <c:v>40.03</c:v>
                </c:pt>
                <c:pt idx="941">
                  <c:v>38.270000000000003</c:v>
                </c:pt>
                <c:pt idx="942">
                  <c:v>38</c:v>
                </c:pt>
                <c:pt idx="943">
                  <c:v>37.049999999999997</c:v>
                </c:pt>
                <c:pt idx="944">
                  <c:v>35.92</c:v>
                </c:pt>
                <c:pt idx="945">
                  <c:v>34.97</c:v>
                </c:pt>
                <c:pt idx="946">
                  <c:v>36.21</c:v>
                </c:pt>
                <c:pt idx="947">
                  <c:v>35.44</c:v>
                </c:pt>
                <c:pt idx="948">
                  <c:v>35.67</c:v>
                </c:pt>
                <c:pt idx="949">
                  <c:v>36.58</c:v>
                </c:pt>
                <c:pt idx="950">
                  <c:v>36.51</c:v>
                </c:pt>
                <c:pt idx="951">
                  <c:v>38.76</c:v>
                </c:pt>
                <c:pt idx="952">
                  <c:v>37</c:v>
                </c:pt>
                <c:pt idx="953">
                  <c:v>34.479999999999997</c:v>
                </c:pt>
                <c:pt idx="954">
                  <c:v>33.090000000000003</c:v>
                </c:pt>
                <c:pt idx="955">
                  <c:v>33.64</c:v>
                </c:pt>
                <c:pt idx="956">
                  <c:v>33.340000000000003</c:v>
                </c:pt>
                <c:pt idx="957">
                  <c:v>30.21</c:v>
                </c:pt>
                <c:pt idx="958">
                  <c:v>31.99</c:v>
                </c:pt>
                <c:pt idx="959">
                  <c:v>33.26</c:v>
                </c:pt>
                <c:pt idx="960">
                  <c:v>32.24</c:v>
                </c:pt>
                <c:pt idx="961">
                  <c:v>33.35</c:v>
                </c:pt>
                <c:pt idx="962">
                  <c:v>32.229999999999997</c:v>
                </c:pt>
                <c:pt idx="963">
                  <c:v>30.69</c:v>
                </c:pt>
                <c:pt idx="964">
                  <c:v>30.57</c:v>
                </c:pt>
                <c:pt idx="965">
                  <c:v>28.83</c:v>
                </c:pt>
                <c:pt idx="966">
                  <c:v>29.18</c:v>
                </c:pt>
                <c:pt idx="967">
                  <c:v>30.96</c:v>
                </c:pt>
                <c:pt idx="968">
                  <c:v>30.47</c:v>
                </c:pt>
                <c:pt idx="969">
                  <c:v>31.37</c:v>
                </c:pt>
                <c:pt idx="970">
                  <c:v>29.32</c:v>
                </c:pt>
                <c:pt idx="971">
                  <c:v>29.06</c:v>
                </c:pt>
                <c:pt idx="972">
                  <c:v>30.05</c:v>
                </c:pt>
                <c:pt idx="973">
                  <c:v>30.37</c:v>
                </c:pt>
                <c:pt idx="974">
                  <c:v>28.74</c:v>
                </c:pt>
                <c:pt idx="975">
                  <c:v>28.45</c:v>
                </c:pt>
                <c:pt idx="976">
                  <c:v>29.36</c:v>
                </c:pt>
                <c:pt idx="977">
                  <c:v>29.56</c:v>
                </c:pt>
                <c:pt idx="978">
                  <c:v>28.91</c:v>
                </c:pt>
                <c:pt idx="979">
                  <c:v>27.7</c:v>
                </c:pt>
                <c:pt idx="980">
                  <c:v>28.58</c:v>
                </c:pt>
                <c:pt idx="981">
                  <c:v>29.03</c:v>
                </c:pt>
                <c:pt idx="982">
                  <c:v>30.9</c:v>
                </c:pt>
                <c:pt idx="983">
                  <c:v>28.71</c:v>
                </c:pt>
                <c:pt idx="984">
                  <c:v>26.64</c:v>
                </c:pt>
                <c:pt idx="985">
                  <c:v>25.32</c:v>
                </c:pt>
                <c:pt idx="986">
                  <c:v>26.77</c:v>
                </c:pt>
                <c:pt idx="987">
                  <c:v>27.21</c:v>
                </c:pt>
                <c:pt idx="988">
                  <c:v>29.49</c:v>
                </c:pt>
                <c:pt idx="989">
                  <c:v>29.7</c:v>
                </c:pt>
                <c:pt idx="990">
                  <c:v>28.81</c:v>
                </c:pt>
                <c:pt idx="991">
                  <c:v>29.99</c:v>
                </c:pt>
                <c:pt idx="992">
                  <c:v>29.99</c:v>
                </c:pt>
                <c:pt idx="993">
                  <c:v>28.18</c:v>
                </c:pt>
                <c:pt idx="994">
                  <c:v>28.93</c:v>
                </c:pt>
                <c:pt idx="995">
                  <c:v>29.19</c:v>
                </c:pt>
                <c:pt idx="996">
                  <c:v>27.63</c:v>
                </c:pt>
                <c:pt idx="997">
                  <c:v>27.3</c:v>
                </c:pt>
                <c:pt idx="998">
                  <c:v>27.02</c:v>
                </c:pt>
                <c:pt idx="999">
                  <c:v>27.46</c:v>
                </c:pt>
                <c:pt idx="1000">
                  <c:v>27.78</c:v>
                </c:pt>
                <c:pt idx="1001">
                  <c:v>26.32</c:v>
                </c:pt>
                <c:pt idx="1002">
                  <c:v>26.24</c:v>
                </c:pt>
                <c:pt idx="1003">
                  <c:v>26.1</c:v>
                </c:pt>
                <c:pt idx="1004">
                  <c:v>25.1</c:v>
                </c:pt>
                <c:pt idx="1005">
                  <c:v>23.52</c:v>
                </c:pt>
                <c:pt idx="1006">
                  <c:v>24.09</c:v>
                </c:pt>
                <c:pt idx="1007">
                  <c:v>25.88</c:v>
                </c:pt>
                <c:pt idx="1008">
                  <c:v>24.75</c:v>
                </c:pt>
                <c:pt idx="1009">
                  <c:v>24.68</c:v>
                </c:pt>
                <c:pt idx="1010">
                  <c:v>26.35</c:v>
                </c:pt>
                <c:pt idx="1011">
                  <c:v>24.35</c:v>
                </c:pt>
                <c:pt idx="1012">
                  <c:v>31.38</c:v>
                </c:pt>
                <c:pt idx="1013">
                  <c:v>34.1</c:v>
                </c:pt>
                <c:pt idx="1014">
                  <c:v>32.79</c:v>
                </c:pt>
                <c:pt idx="1015">
                  <c:v>32.270000000000003</c:v>
                </c:pt>
                <c:pt idx="1016">
                  <c:v>32.5</c:v>
                </c:pt>
                <c:pt idx="1017">
                  <c:v>32.340000000000003</c:v>
                </c:pt>
                <c:pt idx="1018">
                  <c:v>31.1</c:v>
                </c:pt>
                <c:pt idx="1019">
                  <c:v>30.49</c:v>
                </c:pt>
                <c:pt idx="1020">
                  <c:v>30.54</c:v>
                </c:pt>
                <c:pt idx="1021">
                  <c:v>29.67</c:v>
                </c:pt>
                <c:pt idx="1022">
                  <c:v>30.77</c:v>
                </c:pt>
                <c:pt idx="1023">
                  <c:v>30.16</c:v>
                </c:pt>
                <c:pt idx="1024">
                  <c:v>28.34</c:v>
                </c:pt>
                <c:pt idx="1025">
                  <c:v>27.21</c:v>
                </c:pt>
                <c:pt idx="1026">
                  <c:v>25.46</c:v>
                </c:pt>
                <c:pt idx="1027">
                  <c:v>25.16</c:v>
                </c:pt>
                <c:pt idx="1028">
                  <c:v>25.21</c:v>
                </c:pt>
                <c:pt idx="1029">
                  <c:v>23.35</c:v>
                </c:pt>
                <c:pt idx="1030">
                  <c:v>23.58</c:v>
                </c:pt>
                <c:pt idx="1031">
                  <c:v>25.41</c:v>
                </c:pt>
                <c:pt idx="1032">
                  <c:v>25.46</c:v>
                </c:pt>
                <c:pt idx="1033">
                  <c:v>27.84</c:v>
                </c:pt>
                <c:pt idx="1034">
                  <c:v>27.99</c:v>
                </c:pt>
                <c:pt idx="1035">
                  <c:v>28.12</c:v>
                </c:pt>
                <c:pt idx="1036">
                  <c:v>28.88</c:v>
                </c:pt>
                <c:pt idx="1037">
                  <c:v>28.43</c:v>
                </c:pt>
                <c:pt idx="1038">
                  <c:v>28.31</c:v>
                </c:pt>
                <c:pt idx="1039">
                  <c:v>28.29</c:v>
                </c:pt>
                <c:pt idx="1040">
                  <c:v>27.47</c:v>
                </c:pt>
                <c:pt idx="1041">
                  <c:v>26.99</c:v>
                </c:pt>
                <c:pt idx="1042">
                  <c:v>27</c:v>
                </c:pt>
                <c:pt idx="1043">
                  <c:v>25.34</c:v>
                </c:pt>
                <c:pt idx="1044">
                  <c:v>25.31</c:v>
                </c:pt>
                <c:pt idx="1045">
                  <c:v>25.03</c:v>
                </c:pt>
                <c:pt idx="1046">
                  <c:v>26.43</c:v>
                </c:pt>
                <c:pt idx="1047">
                  <c:v>26.32</c:v>
                </c:pt>
                <c:pt idx="1048">
                  <c:v>25.73</c:v>
                </c:pt>
                <c:pt idx="1049">
                  <c:v>25.58</c:v>
                </c:pt>
                <c:pt idx="1050">
                  <c:v>24.75</c:v>
                </c:pt>
                <c:pt idx="1051">
                  <c:v>24.99</c:v>
                </c:pt>
                <c:pt idx="1052">
                  <c:v>23.99</c:v>
                </c:pt>
                <c:pt idx="1053">
                  <c:v>24.45</c:v>
                </c:pt>
                <c:pt idx="1054">
                  <c:v>25.18</c:v>
                </c:pt>
                <c:pt idx="1055">
                  <c:v>26.36</c:v>
                </c:pt>
                <c:pt idx="1056">
                  <c:v>26.38</c:v>
                </c:pt>
                <c:pt idx="1057">
                  <c:v>25.75</c:v>
                </c:pt>
                <c:pt idx="1058">
                  <c:v>26.19</c:v>
                </c:pt>
                <c:pt idx="1059">
                  <c:v>25.85</c:v>
                </c:pt>
                <c:pt idx="1060">
                  <c:v>24.29</c:v>
                </c:pt>
                <c:pt idx="1061">
                  <c:v>25.99</c:v>
                </c:pt>
                <c:pt idx="1062">
                  <c:v>25.92</c:v>
                </c:pt>
                <c:pt idx="1063">
                  <c:v>25.36</c:v>
                </c:pt>
                <c:pt idx="1064">
                  <c:v>24.55</c:v>
                </c:pt>
                <c:pt idx="1065">
                  <c:v>23.33</c:v>
                </c:pt>
                <c:pt idx="1066">
                  <c:v>21.89</c:v>
                </c:pt>
                <c:pt idx="1067">
                  <c:v>20.37</c:v>
                </c:pt>
                <c:pt idx="1068">
                  <c:v>20.87</c:v>
                </c:pt>
                <c:pt idx="1069">
                  <c:v>19.72</c:v>
                </c:pt>
                <c:pt idx="1070">
                  <c:v>19.98</c:v>
                </c:pt>
                <c:pt idx="1071">
                  <c:v>19.37</c:v>
                </c:pt>
                <c:pt idx="1072">
                  <c:v>18.45</c:v>
                </c:pt>
                <c:pt idx="1073">
                  <c:v>20.86</c:v>
                </c:pt>
                <c:pt idx="1074">
                  <c:v>22.18</c:v>
                </c:pt>
                <c:pt idx="1075">
                  <c:v>20.3</c:v>
                </c:pt>
                <c:pt idx="1076">
                  <c:v>19.36</c:v>
                </c:pt>
                <c:pt idx="1077">
                  <c:v>18.38</c:v>
                </c:pt>
                <c:pt idx="1078">
                  <c:v>19.03</c:v>
                </c:pt>
                <c:pt idx="1079">
                  <c:v>19.14</c:v>
                </c:pt>
                <c:pt idx="1080">
                  <c:v>19.28</c:v>
                </c:pt>
                <c:pt idx="1081">
                  <c:v>17.75</c:v>
                </c:pt>
                <c:pt idx="1082">
                  <c:v>21.38</c:v>
                </c:pt>
                <c:pt idx="1083">
                  <c:v>19.77</c:v>
                </c:pt>
                <c:pt idx="1084">
                  <c:v>21.02</c:v>
                </c:pt>
                <c:pt idx="1085">
                  <c:v>21.35</c:v>
                </c:pt>
                <c:pt idx="1086">
                  <c:v>21.73</c:v>
                </c:pt>
                <c:pt idx="1087">
                  <c:v>21.63</c:v>
                </c:pt>
                <c:pt idx="1088">
                  <c:v>23.26</c:v>
                </c:pt>
                <c:pt idx="1089">
                  <c:v>25.44</c:v>
                </c:pt>
                <c:pt idx="1090">
                  <c:v>29.43</c:v>
                </c:pt>
                <c:pt idx="1091">
                  <c:v>27.69</c:v>
                </c:pt>
                <c:pt idx="1092">
                  <c:v>26.41</c:v>
                </c:pt>
                <c:pt idx="1093">
                  <c:v>25.95</c:v>
                </c:pt>
                <c:pt idx="1094">
                  <c:v>24.73</c:v>
                </c:pt>
                <c:pt idx="1095">
                  <c:v>25.98</c:v>
                </c:pt>
                <c:pt idx="1096">
                  <c:v>25.69</c:v>
                </c:pt>
                <c:pt idx="1097">
                  <c:v>25.19</c:v>
                </c:pt>
                <c:pt idx="1098">
                  <c:v>24.64</c:v>
                </c:pt>
                <c:pt idx="1099">
                  <c:v>24.97</c:v>
                </c:pt>
                <c:pt idx="1100">
                  <c:v>26.81</c:v>
                </c:pt>
                <c:pt idx="1101">
                  <c:v>26.08</c:v>
                </c:pt>
                <c:pt idx="1102">
                  <c:v>26.59</c:v>
                </c:pt>
                <c:pt idx="1103">
                  <c:v>28.12</c:v>
                </c:pt>
                <c:pt idx="1104">
                  <c:v>29.44</c:v>
                </c:pt>
                <c:pt idx="1105">
                  <c:v>29.07</c:v>
                </c:pt>
                <c:pt idx="1106">
                  <c:v>28.48</c:v>
                </c:pt>
                <c:pt idx="1107">
                  <c:v>29.39</c:v>
                </c:pt>
                <c:pt idx="1108">
                  <c:v>28.19</c:v>
                </c:pt>
                <c:pt idx="1109">
                  <c:v>28.19</c:v>
                </c:pt>
                <c:pt idx="1110">
                  <c:v>27.79</c:v>
                </c:pt>
                <c:pt idx="1111">
                  <c:v>26.39</c:v>
                </c:pt>
                <c:pt idx="1112">
                  <c:v>27.37</c:v>
                </c:pt>
                <c:pt idx="1113">
                  <c:v>25.17</c:v>
                </c:pt>
                <c:pt idx="1114">
                  <c:v>24.74</c:v>
                </c:pt>
                <c:pt idx="1115">
                  <c:v>25.38</c:v>
                </c:pt>
                <c:pt idx="1116">
                  <c:v>25.05</c:v>
                </c:pt>
                <c:pt idx="1117">
                  <c:v>26.33</c:v>
                </c:pt>
                <c:pt idx="1118">
                  <c:v>26</c:v>
                </c:pt>
                <c:pt idx="1119">
                  <c:v>26.52</c:v>
                </c:pt>
                <c:pt idx="1120">
                  <c:v>26.89</c:v>
                </c:pt>
                <c:pt idx="1121">
                  <c:v>29.25</c:v>
                </c:pt>
                <c:pt idx="1122">
                  <c:v>29.19</c:v>
                </c:pt>
                <c:pt idx="1123">
                  <c:v>26.98</c:v>
                </c:pt>
                <c:pt idx="1124">
                  <c:v>27.04</c:v>
                </c:pt>
                <c:pt idx="1125">
                  <c:v>25.75</c:v>
                </c:pt>
                <c:pt idx="1126">
                  <c:v>25.18</c:v>
                </c:pt>
                <c:pt idx="1127">
                  <c:v>23.87</c:v>
                </c:pt>
                <c:pt idx="1128">
                  <c:v>23.66</c:v>
                </c:pt>
                <c:pt idx="1129">
                  <c:v>25.89</c:v>
                </c:pt>
                <c:pt idx="1130">
                  <c:v>26.56</c:v>
                </c:pt>
                <c:pt idx="1131">
                  <c:v>30.17</c:v>
                </c:pt>
                <c:pt idx="1132">
                  <c:v>33.119999999999997</c:v>
                </c:pt>
                <c:pt idx="1133">
                  <c:v>33.08</c:v>
                </c:pt>
                <c:pt idx="1134">
                  <c:v>32.020000000000003</c:v>
                </c:pt>
                <c:pt idx="1135">
                  <c:v>30.85</c:v>
                </c:pt>
                <c:pt idx="1136">
                  <c:v>30.95</c:v>
                </c:pt>
                <c:pt idx="1137">
                  <c:v>31.62</c:v>
                </c:pt>
                <c:pt idx="1138">
                  <c:v>32.520000000000003</c:v>
                </c:pt>
                <c:pt idx="1139">
                  <c:v>30.1</c:v>
                </c:pt>
                <c:pt idx="1140">
                  <c:v>29.84</c:v>
                </c:pt>
                <c:pt idx="1141">
                  <c:v>31.25</c:v>
                </c:pt>
                <c:pt idx="1142">
                  <c:v>33.979999999999997</c:v>
                </c:pt>
                <c:pt idx="1143">
                  <c:v>32.78</c:v>
                </c:pt>
                <c:pt idx="1144">
                  <c:v>31.85</c:v>
                </c:pt>
                <c:pt idx="1145">
                  <c:v>30.39</c:v>
                </c:pt>
                <c:pt idx="1146">
                  <c:v>30.44</c:v>
                </c:pt>
                <c:pt idx="1147">
                  <c:v>30.57</c:v>
                </c:pt>
                <c:pt idx="1148">
                  <c:v>29.37</c:v>
                </c:pt>
                <c:pt idx="1149">
                  <c:v>27.36</c:v>
                </c:pt>
                <c:pt idx="1150">
                  <c:v>27.52</c:v>
                </c:pt>
                <c:pt idx="1151">
                  <c:v>29.88</c:v>
                </c:pt>
                <c:pt idx="1152">
                  <c:v>29.7</c:v>
                </c:pt>
                <c:pt idx="1153">
                  <c:v>30.57</c:v>
                </c:pt>
                <c:pt idx="1154">
                  <c:v>30.39</c:v>
                </c:pt>
                <c:pt idx="1155">
                  <c:v>28.35</c:v>
                </c:pt>
                <c:pt idx="1156">
                  <c:v>29.58</c:v>
                </c:pt>
                <c:pt idx="1157">
                  <c:v>29.05</c:v>
                </c:pt>
                <c:pt idx="1158">
                  <c:v>29.22</c:v>
                </c:pt>
                <c:pt idx="1159">
                  <c:v>28.59</c:v>
                </c:pt>
                <c:pt idx="1160">
                  <c:v>28.05</c:v>
                </c:pt>
                <c:pt idx="1161">
                  <c:v>25.29</c:v>
                </c:pt>
                <c:pt idx="1162">
                  <c:v>23.89</c:v>
                </c:pt>
                <c:pt idx="1163">
                  <c:v>23.83</c:v>
                </c:pt>
                <c:pt idx="1164">
                  <c:v>22.41</c:v>
                </c:pt>
                <c:pt idx="1165">
                  <c:v>22.58</c:v>
                </c:pt>
                <c:pt idx="1166">
                  <c:v>24.77</c:v>
                </c:pt>
                <c:pt idx="1167">
                  <c:v>25.91</c:v>
                </c:pt>
                <c:pt idx="1168">
                  <c:v>26.56</c:v>
                </c:pt>
                <c:pt idx="1169">
                  <c:v>28.94</c:v>
                </c:pt>
                <c:pt idx="1170">
                  <c:v>28.99</c:v>
                </c:pt>
                <c:pt idx="1171">
                  <c:v>27.48</c:v>
                </c:pt>
                <c:pt idx="1172">
                  <c:v>26.22</c:v>
                </c:pt>
                <c:pt idx="1173">
                  <c:v>27.82</c:v>
                </c:pt>
                <c:pt idx="1174">
                  <c:v>27.07</c:v>
                </c:pt>
                <c:pt idx="1175">
                  <c:v>25.68</c:v>
                </c:pt>
                <c:pt idx="1176">
                  <c:v>26.35</c:v>
                </c:pt>
                <c:pt idx="1177">
                  <c:v>25.47</c:v>
                </c:pt>
                <c:pt idx="1178">
                  <c:v>23.09</c:v>
                </c:pt>
                <c:pt idx="1179">
                  <c:v>25.08</c:v>
                </c:pt>
                <c:pt idx="1180">
                  <c:v>25.21</c:v>
                </c:pt>
                <c:pt idx="1181">
                  <c:v>25.52</c:v>
                </c:pt>
                <c:pt idx="1182">
                  <c:v>24.46</c:v>
                </c:pt>
                <c:pt idx="1183">
                  <c:v>24.95</c:v>
                </c:pt>
                <c:pt idx="1184">
                  <c:v>25.36</c:v>
                </c:pt>
                <c:pt idx="1185">
                  <c:v>25.07</c:v>
                </c:pt>
                <c:pt idx="1186">
                  <c:v>24.59</c:v>
                </c:pt>
                <c:pt idx="1187">
                  <c:v>22.83</c:v>
                </c:pt>
                <c:pt idx="1188">
                  <c:v>21.69</c:v>
                </c:pt>
                <c:pt idx="1189">
                  <c:v>22.93</c:v>
                </c:pt>
                <c:pt idx="1190">
                  <c:v>22.5</c:v>
                </c:pt>
                <c:pt idx="1191">
                  <c:v>20.7</c:v>
                </c:pt>
                <c:pt idx="1192">
                  <c:v>23.67</c:v>
                </c:pt>
                <c:pt idx="1193">
                  <c:v>23.9</c:v>
                </c:pt>
                <c:pt idx="1194">
                  <c:v>22.8</c:v>
                </c:pt>
                <c:pt idx="1195">
                  <c:v>23.44</c:v>
                </c:pt>
                <c:pt idx="1196">
                  <c:v>21.03</c:v>
                </c:pt>
                <c:pt idx="1197">
                  <c:v>20.76</c:v>
                </c:pt>
                <c:pt idx="1198">
                  <c:v>20.99</c:v>
                </c:pt>
                <c:pt idx="1199">
                  <c:v>20.69</c:v>
                </c:pt>
                <c:pt idx="1200">
                  <c:v>20.059999999999999</c:v>
                </c:pt>
                <c:pt idx="1201">
                  <c:v>19.37</c:v>
                </c:pt>
                <c:pt idx="1202">
                  <c:v>19.53</c:v>
                </c:pt>
                <c:pt idx="1203">
                  <c:v>19.350000000000001</c:v>
                </c:pt>
                <c:pt idx="1204">
                  <c:v>18.510000000000002</c:v>
                </c:pt>
                <c:pt idx="1205">
                  <c:v>17.66</c:v>
                </c:pt>
                <c:pt idx="1206">
                  <c:v>16.62</c:v>
                </c:pt>
                <c:pt idx="1207">
                  <c:v>16.5</c:v>
                </c:pt>
                <c:pt idx="1208">
                  <c:v>16.73</c:v>
                </c:pt>
                <c:pt idx="1209">
                  <c:v>15.58</c:v>
                </c:pt>
                <c:pt idx="1210">
                  <c:v>15.2</c:v>
                </c:pt>
                <c:pt idx="1211">
                  <c:v>15.58</c:v>
                </c:pt>
                <c:pt idx="1212">
                  <c:v>16.21</c:v>
                </c:pt>
                <c:pt idx="1213">
                  <c:v>16.41</c:v>
                </c:pt>
                <c:pt idx="1214">
                  <c:v>16.57</c:v>
                </c:pt>
                <c:pt idx="1215">
                  <c:v>15.89</c:v>
                </c:pt>
                <c:pt idx="1216">
                  <c:v>15.69</c:v>
                </c:pt>
                <c:pt idx="1217">
                  <c:v>14.86</c:v>
                </c:pt>
                <c:pt idx="1218">
                  <c:v>14.72</c:v>
                </c:pt>
                <c:pt idx="1219">
                  <c:v>14.41</c:v>
                </c:pt>
                <c:pt idx="1220">
                  <c:v>13.45</c:v>
                </c:pt>
                <c:pt idx="1221">
                  <c:v>12.56</c:v>
                </c:pt>
                <c:pt idx="1222">
                  <c:v>11.56</c:v>
                </c:pt>
                <c:pt idx="1223">
                  <c:v>10.88</c:v>
                </c:pt>
                <c:pt idx="1224">
                  <c:v>10.4</c:v>
                </c:pt>
                <c:pt idx="1225">
                  <c:v>10.43</c:v>
                </c:pt>
                <c:pt idx="1226">
                  <c:v>10.41</c:v>
                </c:pt>
                <c:pt idx="1227">
                  <c:v>11.35</c:v>
                </c:pt>
                <c:pt idx="1228">
                  <c:v>11.1</c:v>
                </c:pt>
                <c:pt idx="1229">
                  <c:v>10.79</c:v>
                </c:pt>
                <c:pt idx="1230">
                  <c:v>11.73</c:v>
                </c:pt>
                <c:pt idx="1231">
                  <c:v>10.53</c:v>
                </c:pt>
                <c:pt idx="1232">
                  <c:v>10.11</c:v>
                </c:pt>
                <c:pt idx="1233">
                  <c:v>9.98</c:v>
                </c:pt>
                <c:pt idx="1234">
                  <c:v>9.82</c:v>
                </c:pt>
                <c:pt idx="1235">
                  <c:v>10.19</c:v>
                </c:pt>
                <c:pt idx="1236">
                  <c:v>11.14</c:v>
                </c:pt>
                <c:pt idx="1237">
                  <c:v>11.68</c:v>
                </c:pt>
                <c:pt idx="1238">
                  <c:v>12.44</c:v>
                </c:pt>
                <c:pt idx="1239">
                  <c:v>12.35</c:v>
                </c:pt>
                <c:pt idx="1240">
                  <c:v>13.22</c:v>
                </c:pt>
                <c:pt idx="1241">
                  <c:v>12.76</c:v>
                </c:pt>
                <c:pt idx="1242">
                  <c:v>13.13</c:v>
                </c:pt>
                <c:pt idx="1243">
                  <c:v>13.27</c:v>
                </c:pt>
                <c:pt idx="1244">
                  <c:v>14.36</c:v>
                </c:pt>
                <c:pt idx="1245">
                  <c:v>14.43</c:v>
                </c:pt>
                <c:pt idx="1246">
                  <c:v>14.17</c:v>
                </c:pt>
                <c:pt idx="1247">
                  <c:v>12.93</c:v>
                </c:pt>
                <c:pt idx="1248">
                  <c:v>13.31</c:v>
                </c:pt>
                <c:pt idx="1249">
                  <c:v>12.56</c:v>
                </c:pt>
                <c:pt idx="1250">
                  <c:v>12.27</c:v>
                </c:pt>
                <c:pt idx="1251">
                  <c:v>12.05</c:v>
                </c:pt>
                <c:pt idx="1252">
                  <c:v>12.59</c:v>
                </c:pt>
                <c:pt idx="1253">
                  <c:v>13.09</c:v>
                </c:pt>
                <c:pt idx="1254">
                  <c:v>12.83</c:v>
                </c:pt>
                <c:pt idx="1255">
                  <c:v>12.8</c:v>
                </c:pt>
                <c:pt idx="1256">
                  <c:v>12.86</c:v>
                </c:pt>
                <c:pt idx="1257">
                  <c:v>13.55</c:v>
                </c:pt>
                <c:pt idx="1258">
                  <c:v>13.21</c:v>
                </c:pt>
                <c:pt idx="1259">
                  <c:v>12.85</c:v>
                </c:pt>
                <c:pt idx="1260">
                  <c:v>12.41</c:v>
                </c:pt>
                <c:pt idx="1261">
                  <c:v>14.6</c:v>
                </c:pt>
                <c:pt idx="1262">
                  <c:v>14.37</c:v>
                </c:pt>
                <c:pt idx="1263">
                  <c:v>14.06</c:v>
                </c:pt>
                <c:pt idx="1264">
                  <c:v>14.4</c:v>
                </c:pt>
                <c:pt idx="1265">
                  <c:v>14.69</c:v>
                </c:pt>
                <c:pt idx="1266">
                  <c:v>15.13</c:v>
                </c:pt>
                <c:pt idx="1267">
                  <c:v>13.9</c:v>
                </c:pt>
                <c:pt idx="1268">
                  <c:v>14.36</c:v>
                </c:pt>
                <c:pt idx="1269">
                  <c:v>14</c:v>
                </c:pt>
                <c:pt idx="1270">
                  <c:v>14.41</c:v>
                </c:pt>
                <c:pt idx="1271">
                  <c:v>15.4</c:v>
                </c:pt>
                <c:pt idx="1272">
                  <c:v>13.22</c:v>
                </c:pt>
                <c:pt idx="1273">
                  <c:v>12.76</c:v>
                </c:pt>
                <c:pt idx="1274">
                  <c:v>13.59</c:v>
                </c:pt>
                <c:pt idx="1275">
                  <c:v>14.17</c:v>
                </c:pt>
                <c:pt idx="1276">
                  <c:v>14.67</c:v>
                </c:pt>
                <c:pt idx="1277">
                  <c:v>14.85</c:v>
                </c:pt>
                <c:pt idx="1278">
                  <c:v>15.3</c:v>
                </c:pt>
                <c:pt idx="1279">
                  <c:v>15.96</c:v>
                </c:pt>
                <c:pt idx="1280">
                  <c:v>14.74</c:v>
                </c:pt>
                <c:pt idx="1281">
                  <c:v>15.47</c:v>
                </c:pt>
                <c:pt idx="1282">
                  <c:v>15.5</c:v>
                </c:pt>
                <c:pt idx="1283">
                  <c:v>16.420000000000002</c:v>
                </c:pt>
                <c:pt idx="1284">
                  <c:v>17.329999999999998</c:v>
                </c:pt>
                <c:pt idx="1285">
                  <c:v>17.53</c:v>
                </c:pt>
                <c:pt idx="1286">
                  <c:v>17.309999999999999</c:v>
                </c:pt>
                <c:pt idx="1287">
                  <c:v>18.13</c:v>
                </c:pt>
                <c:pt idx="1288">
                  <c:v>18.940000000000001</c:v>
                </c:pt>
                <c:pt idx="1289">
                  <c:v>18.88</c:v>
                </c:pt>
                <c:pt idx="1290">
                  <c:v>20.05</c:v>
                </c:pt>
                <c:pt idx="1291">
                  <c:v>19.79</c:v>
                </c:pt>
                <c:pt idx="1292">
                  <c:v>20.02</c:v>
                </c:pt>
                <c:pt idx="1293">
                  <c:v>19.89</c:v>
                </c:pt>
                <c:pt idx="1294">
                  <c:v>19.75</c:v>
                </c:pt>
                <c:pt idx="1295">
                  <c:v>20.73</c:v>
                </c:pt>
                <c:pt idx="1296">
                  <c:v>21.61</c:v>
                </c:pt>
                <c:pt idx="1297">
                  <c:v>19.559999999999999</c:v>
                </c:pt>
                <c:pt idx="1298">
                  <c:v>18.399999999999999</c:v>
                </c:pt>
                <c:pt idx="1299">
                  <c:v>18.260000000000002</c:v>
                </c:pt>
                <c:pt idx="1300">
                  <c:v>18.47</c:v>
                </c:pt>
                <c:pt idx="1301">
                  <c:v>18.510000000000002</c:v>
                </c:pt>
                <c:pt idx="1302">
                  <c:v>18.54</c:v>
                </c:pt>
                <c:pt idx="1303">
                  <c:v>18.989999999999998</c:v>
                </c:pt>
                <c:pt idx="1304">
                  <c:v>18.48</c:v>
                </c:pt>
                <c:pt idx="1305">
                  <c:v>18.95</c:v>
                </c:pt>
                <c:pt idx="1306">
                  <c:v>18.53</c:v>
                </c:pt>
                <c:pt idx="1307">
                  <c:v>18.12</c:v>
                </c:pt>
                <c:pt idx="1308">
                  <c:v>18.09</c:v>
                </c:pt>
                <c:pt idx="1309">
                  <c:v>18.059999999999999</c:v>
                </c:pt>
                <c:pt idx="1310">
                  <c:v>18.18</c:v>
                </c:pt>
                <c:pt idx="1311">
                  <c:v>17.670000000000002</c:v>
                </c:pt>
                <c:pt idx="1312">
                  <c:v>17.690000000000001</c:v>
                </c:pt>
                <c:pt idx="1313">
                  <c:v>17.7</c:v>
                </c:pt>
                <c:pt idx="1314">
                  <c:v>19.399999999999999</c:v>
                </c:pt>
                <c:pt idx="1315">
                  <c:v>20</c:v>
                </c:pt>
                <c:pt idx="1316">
                  <c:v>20.350000000000001</c:v>
                </c:pt>
                <c:pt idx="1317">
                  <c:v>18.93</c:v>
                </c:pt>
                <c:pt idx="1318">
                  <c:v>17.97</c:v>
                </c:pt>
                <c:pt idx="1319">
                  <c:v>18.27</c:v>
                </c:pt>
                <c:pt idx="1320">
                  <c:v>17.920000000000002</c:v>
                </c:pt>
                <c:pt idx="1321">
                  <c:v>17.88</c:v>
                </c:pt>
                <c:pt idx="1322">
                  <c:v>17.68</c:v>
                </c:pt>
                <c:pt idx="1323">
                  <c:v>19.38</c:v>
                </c:pt>
                <c:pt idx="1324">
                  <c:v>19.989999999999998</c:v>
                </c:pt>
                <c:pt idx="1325">
                  <c:v>20.14</c:v>
                </c:pt>
                <c:pt idx="1326">
                  <c:v>19.86</c:v>
                </c:pt>
                <c:pt idx="1327">
                  <c:v>18.850000000000001</c:v>
                </c:pt>
                <c:pt idx="1328">
                  <c:v>19.79</c:v>
                </c:pt>
                <c:pt idx="1329">
                  <c:v>20.49</c:v>
                </c:pt>
                <c:pt idx="1330">
                  <c:v>20.95</c:v>
                </c:pt>
                <c:pt idx="1331">
                  <c:v>22.52</c:v>
                </c:pt>
                <c:pt idx="1332">
                  <c:v>22.26</c:v>
                </c:pt>
                <c:pt idx="1333">
                  <c:v>22.54</c:v>
                </c:pt>
                <c:pt idx="1334">
                  <c:v>24.34</c:v>
                </c:pt>
                <c:pt idx="1335">
                  <c:v>24.12</c:v>
                </c:pt>
                <c:pt idx="1336">
                  <c:v>23.42</c:v>
                </c:pt>
                <c:pt idx="1337">
                  <c:v>23.46</c:v>
                </c:pt>
                <c:pt idx="1338">
                  <c:v>23.53</c:v>
                </c:pt>
                <c:pt idx="1339">
                  <c:v>24.54</c:v>
                </c:pt>
                <c:pt idx="1340">
                  <c:v>22.77</c:v>
                </c:pt>
                <c:pt idx="1341">
                  <c:v>23.03</c:v>
                </c:pt>
                <c:pt idx="1342">
                  <c:v>23.3</c:v>
                </c:pt>
                <c:pt idx="1343">
                  <c:v>22.98</c:v>
                </c:pt>
                <c:pt idx="1344">
                  <c:v>22.5</c:v>
                </c:pt>
                <c:pt idx="1345">
                  <c:v>24.22</c:v>
                </c:pt>
                <c:pt idx="1346">
                  <c:v>24.53</c:v>
                </c:pt>
                <c:pt idx="1347">
                  <c:v>23.98</c:v>
                </c:pt>
                <c:pt idx="1348">
                  <c:v>23.85</c:v>
                </c:pt>
                <c:pt idx="1349">
                  <c:v>23.47</c:v>
                </c:pt>
                <c:pt idx="1350">
                  <c:v>21.99</c:v>
                </c:pt>
                <c:pt idx="1351">
                  <c:v>24.12</c:v>
                </c:pt>
                <c:pt idx="1352">
                  <c:v>22.54</c:v>
                </c:pt>
                <c:pt idx="1353">
                  <c:v>20.78</c:v>
                </c:pt>
                <c:pt idx="1354">
                  <c:v>20.41</c:v>
                </c:pt>
                <c:pt idx="1355">
                  <c:v>20.53</c:v>
                </c:pt>
                <c:pt idx="1356">
                  <c:v>19.93</c:v>
                </c:pt>
                <c:pt idx="1357">
                  <c:v>19.59</c:v>
                </c:pt>
                <c:pt idx="1358">
                  <c:v>18.72</c:v>
                </c:pt>
                <c:pt idx="1359">
                  <c:v>19.22</c:v>
                </c:pt>
                <c:pt idx="1360">
                  <c:v>20.010000000000002</c:v>
                </c:pt>
                <c:pt idx="1361">
                  <c:v>19.739999999999998</c:v>
                </c:pt>
                <c:pt idx="1362">
                  <c:v>18.91</c:v>
                </c:pt>
                <c:pt idx="1363">
                  <c:v>18.059999999999999</c:v>
                </c:pt>
                <c:pt idx="1364">
                  <c:v>17.850000000000001</c:v>
                </c:pt>
                <c:pt idx="1365">
                  <c:v>18.28</c:v>
                </c:pt>
                <c:pt idx="1366">
                  <c:v>17.8</c:v>
                </c:pt>
                <c:pt idx="1367">
                  <c:v>19.100000000000001</c:v>
                </c:pt>
                <c:pt idx="1368">
                  <c:v>17.54</c:v>
                </c:pt>
                <c:pt idx="1369">
                  <c:v>19.05</c:v>
                </c:pt>
                <c:pt idx="1370">
                  <c:v>19.170000000000002</c:v>
                </c:pt>
                <c:pt idx="1371">
                  <c:v>19.8</c:v>
                </c:pt>
                <c:pt idx="1372">
                  <c:v>18.53</c:v>
                </c:pt>
                <c:pt idx="1373">
                  <c:v>21.75</c:v>
                </c:pt>
                <c:pt idx="1374">
                  <c:v>20.25</c:v>
                </c:pt>
                <c:pt idx="1375">
                  <c:v>19.41</c:v>
                </c:pt>
                <c:pt idx="1376">
                  <c:v>19.62</c:v>
                </c:pt>
                <c:pt idx="1377">
                  <c:v>18.18</c:v>
                </c:pt>
                <c:pt idx="1378">
                  <c:v>18.190000000000001</c:v>
                </c:pt>
                <c:pt idx="1379">
                  <c:v>17.760000000000002</c:v>
                </c:pt>
                <c:pt idx="1380">
                  <c:v>17.55</c:v>
                </c:pt>
                <c:pt idx="1381">
                  <c:v>17.100000000000001</c:v>
                </c:pt>
                <c:pt idx="1382">
                  <c:v>16.78</c:v>
                </c:pt>
                <c:pt idx="1383">
                  <c:v>16.71</c:v>
                </c:pt>
                <c:pt idx="1384">
                  <c:v>16.489999999999998</c:v>
                </c:pt>
                <c:pt idx="1385">
                  <c:v>17.12</c:v>
                </c:pt>
                <c:pt idx="1386">
                  <c:v>17.41</c:v>
                </c:pt>
                <c:pt idx="1387">
                  <c:v>19.05</c:v>
                </c:pt>
                <c:pt idx="1388">
                  <c:v>18.329999999999998</c:v>
                </c:pt>
                <c:pt idx="1389">
                  <c:v>17.82</c:v>
                </c:pt>
                <c:pt idx="1390">
                  <c:v>17.829999999999998</c:v>
                </c:pt>
                <c:pt idx="1391">
                  <c:v>17.760000000000002</c:v>
                </c:pt>
                <c:pt idx="1392">
                  <c:v>17.25</c:v>
                </c:pt>
                <c:pt idx="1393">
                  <c:v>16.79</c:v>
                </c:pt>
                <c:pt idx="1394">
                  <c:v>16.93</c:v>
                </c:pt>
                <c:pt idx="1395">
                  <c:v>16.579999999999998</c:v>
                </c:pt>
                <c:pt idx="1396">
                  <c:v>16.63</c:v>
                </c:pt>
                <c:pt idx="1397">
                  <c:v>16.28</c:v>
                </c:pt>
                <c:pt idx="1398">
                  <c:v>15.88</c:v>
                </c:pt>
                <c:pt idx="1399">
                  <c:v>16.23</c:v>
                </c:pt>
                <c:pt idx="1400">
                  <c:v>15.76</c:v>
                </c:pt>
                <c:pt idx="1401">
                  <c:v>16.12</c:v>
                </c:pt>
                <c:pt idx="1402">
                  <c:v>15.96</c:v>
                </c:pt>
                <c:pt idx="1403">
                  <c:v>16.8</c:v>
                </c:pt>
                <c:pt idx="1404">
                  <c:v>16.739999999999998</c:v>
                </c:pt>
                <c:pt idx="1405">
                  <c:v>16.43</c:v>
                </c:pt>
                <c:pt idx="1406">
                  <c:v>16.170000000000002</c:v>
                </c:pt>
                <c:pt idx="1407">
                  <c:v>16.04</c:v>
                </c:pt>
                <c:pt idx="1408">
                  <c:v>16.260000000000002</c:v>
                </c:pt>
                <c:pt idx="1409">
                  <c:v>16.23</c:v>
                </c:pt>
                <c:pt idx="1410">
                  <c:v>16.010000000000002</c:v>
                </c:pt>
                <c:pt idx="1411">
                  <c:v>15.59</c:v>
                </c:pt>
                <c:pt idx="1412">
                  <c:v>16.059999999999999</c:v>
                </c:pt>
                <c:pt idx="1413">
                  <c:v>16.05</c:v>
                </c:pt>
                <c:pt idx="1414">
                  <c:v>16.38</c:v>
                </c:pt>
                <c:pt idx="1415">
                  <c:v>16.45</c:v>
                </c:pt>
                <c:pt idx="1416">
                  <c:v>17.34</c:v>
                </c:pt>
                <c:pt idx="1417">
                  <c:v>17.690000000000001</c:v>
                </c:pt>
                <c:pt idx="1418">
                  <c:v>17.940000000000001</c:v>
                </c:pt>
                <c:pt idx="1419">
                  <c:v>17.36</c:v>
                </c:pt>
                <c:pt idx="1420">
                  <c:v>18.39</c:v>
                </c:pt>
                <c:pt idx="1421">
                  <c:v>18.52</c:v>
                </c:pt>
                <c:pt idx="1422">
                  <c:v>19</c:v>
                </c:pt>
                <c:pt idx="1423">
                  <c:v>19.059999999999999</c:v>
                </c:pt>
                <c:pt idx="1424">
                  <c:v>18.79</c:v>
                </c:pt>
                <c:pt idx="1425">
                  <c:v>17.62</c:v>
                </c:pt>
                <c:pt idx="1426">
                  <c:v>18.23</c:v>
                </c:pt>
                <c:pt idx="1427">
                  <c:v>17.5</c:v>
                </c:pt>
                <c:pt idx="1428">
                  <c:v>17.12</c:v>
                </c:pt>
                <c:pt idx="1429">
                  <c:v>16.63</c:v>
                </c:pt>
                <c:pt idx="1430">
                  <c:v>16.46</c:v>
                </c:pt>
                <c:pt idx="1431">
                  <c:v>16.87</c:v>
                </c:pt>
                <c:pt idx="1432">
                  <c:v>17.079999999999998</c:v>
                </c:pt>
                <c:pt idx="1433">
                  <c:v>17.14</c:v>
                </c:pt>
                <c:pt idx="1434">
                  <c:v>17.329999999999998</c:v>
                </c:pt>
                <c:pt idx="1435">
                  <c:v>17.2</c:v>
                </c:pt>
                <c:pt idx="1436">
                  <c:v>16.39</c:v>
                </c:pt>
                <c:pt idx="1437">
                  <c:v>16.87</c:v>
                </c:pt>
                <c:pt idx="1438">
                  <c:v>16.38</c:v>
                </c:pt>
                <c:pt idx="1439">
                  <c:v>16.5</c:v>
                </c:pt>
                <c:pt idx="1440">
                  <c:v>16.5</c:v>
                </c:pt>
                <c:pt idx="1441">
                  <c:v>15.92</c:v>
                </c:pt>
                <c:pt idx="1442">
                  <c:v>15.88</c:v>
                </c:pt>
                <c:pt idx="1443">
                  <c:v>16.260000000000002</c:v>
                </c:pt>
                <c:pt idx="1444">
                  <c:v>16.190000000000001</c:v>
                </c:pt>
                <c:pt idx="1445">
                  <c:v>17.16</c:v>
                </c:pt>
                <c:pt idx="1446">
                  <c:v>16.72</c:v>
                </c:pt>
                <c:pt idx="1447">
                  <c:v>17.46</c:v>
                </c:pt>
                <c:pt idx="1448">
                  <c:v>17.739999999999998</c:v>
                </c:pt>
                <c:pt idx="1449">
                  <c:v>17.010000000000002</c:v>
                </c:pt>
                <c:pt idx="1450">
                  <c:v>16.260000000000002</c:v>
                </c:pt>
                <c:pt idx="1451">
                  <c:v>15.81</c:v>
                </c:pt>
                <c:pt idx="1452">
                  <c:v>16.93</c:v>
                </c:pt>
                <c:pt idx="1453">
                  <c:v>17.149999999999999</c:v>
                </c:pt>
                <c:pt idx="1454">
                  <c:v>16.66</c:v>
                </c:pt>
                <c:pt idx="1455">
                  <c:v>15.79</c:v>
                </c:pt>
                <c:pt idx="1456">
                  <c:v>16.22</c:v>
                </c:pt>
                <c:pt idx="1457">
                  <c:v>16.32</c:v>
                </c:pt>
                <c:pt idx="1458">
                  <c:v>16.04</c:v>
                </c:pt>
                <c:pt idx="1459">
                  <c:v>16.3</c:v>
                </c:pt>
                <c:pt idx="1460">
                  <c:v>16.95</c:v>
                </c:pt>
                <c:pt idx="1461">
                  <c:v>17.86</c:v>
                </c:pt>
                <c:pt idx="1462">
                  <c:v>18.59</c:v>
                </c:pt>
                <c:pt idx="1463">
                  <c:v>17.84</c:v>
                </c:pt>
                <c:pt idx="1464">
                  <c:v>17.77</c:v>
                </c:pt>
                <c:pt idx="1465">
                  <c:v>17.37</c:v>
                </c:pt>
                <c:pt idx="1466">
                  <c:v>17.57</c:v>
                </c:pt>
                <c:pt idx="1467">
                  <c:v>17.38</c:v>
                </c:pt>
                <c:pt idx="1468">
                  <c:v>17.41</c:v>
                </c:pt>
                <c:pt idx="1469">
                  <c:v>16.39</c:v>
                </c:pt>
                <c:pt idx="1470">
                  <c:v>16.37</c:v>
                </c:pt>
                <c:pt idx="1471">
                  <c:v>16.39</c:v>
                </c:pt>
                <c:pt idx="1472">
                  <c:v>16.55</c:v>
                </c:pt>
                <c:pt idx="1473">
                  <c:v>16.59</c:v>
                </c:pt>
                <c:pt idx="1474">
                  <c:v>16.28</c:v>
                </c:pt>
                <c:pt idx="1475">
                  <c:v>15.69</c:v>
                </c:pt>
                <c:pt idx="1476">
                  <c:v>15.74</c:v>
                </c:pt>
                <c:pt idx="1477">
                  <c:v>15.12</c:v>
                </c:pt>
                <c:pt idx="1478">
                  <c:v>14.36</c:v>
                </c:pt>
                <c:pt idx="1479">
                  <c:v>13.25</c:v>
                </c:pt>
                <c:pt idx="1480">
                  <c:v>14.11</c:v>
                </c:pt>
                <c:pt idx="1481">
                  <c:v>13.63</c:v>
                </c:pt>
                <c:pt idx="1482">
                  <c:v>13.65</c:v>
                </c:pt>
                <c:pt idx="1483">
                  <c:v>13.45</c:v>
                </c:pt>
                <c:pt idx="1484">
                  <c:v>13.47</c:v>
                </c:pt>
                <c:pt idx="1485">
                  <c:v>13.12</c:v>
                </c:pt>
                <c:pt idx="1486">
                  <c:v>13.63</c:v>
                </c:pt>
                <c:pt idx="1487">
                  <c:v>14.41</c:v>
                </c:pt>
                <c:pt idx="1488">
                  <c:v>14.31</c:v>
                </c:pt>
                <c:pt idx="1489">
                  <c:v>13.87</c:v>
                </c:pt>
                <c:pt idx="1490">
                  <c:v>13.94</c:v>
                </c:pt>
                <c:pt idx="1491">
                  <c:v>14.23</c:v>
                </c:pt>
                <c:pt idx="1492">
                  <c:v>13.2</c:v>
                </c:pt>
                <c:pt idx="1493">
                  <c:v>13.64</c:v>
                </c:pt>
                <c:pt idx="1494">
                  <c:v>13.56</c:v>
                </c:pt>
                <c:pt idx="1495">
                  <c:v>14.03</c:v>
                </c:pt>
                <c:pt idx="1496">
                  <c:v>14.08</c:v>
                </c:pt>
                <c:pt idx="1497">
                  <c:v>14.48</c:v>
                </c:pt>
                <c:pt idx="1498">
                  <c:v>15.79</c:v>
                </c:pt>
                <c:pt idx="1499">
                  <c:v>15.49</c:v>
                </c:pt>
                <c:pt idx="1500">
                  <c:v>15.86</c:v>
                </c:pt>
                <c:pt idx="1501">
                  <c:v>15.8</c:v>
                </c:pt>
                <c:pt idx="1502">
                  <c:v>16.850000000000001</c:v>
                </c:pt>
                <c:pt idx="1503">
                  <c:v>16.93</c:v>
                </c:pt>
                <c:pt idx="1504">
                  <c:v>17.190000000000001</c:v>
                </c:pt>
                <c:pt idx="1505">
                  <c:v>17.3</c:v>
                </c:pt>
                <c:pt idx="1506">
                  <c:v>16.29</c:v>
                </c:pt>
                <c:pt idx="1507">
                  <c:v>16.13</c:v>
                </c:pt>
                <c:pt idx="1508">
                  <c:v>15.71</c:v>
                </c:pt>
                <c:pt idx="1509">
                  <c:v>16.53</c:v>
                </c:pt>
                <c:pt idx="1510">
                  <c:v>17.46</c:v>
                </c:pt>
                <c:pt idx="1511">
                  <c:v>17.09</c:v>
                </c:pt>
                <c:pt idx="1512">
                  <c:v>17.04</c:v>
                </c:pt>
                <c:pt idx="1513">
                  <c:v>16.399999999999999</c:v>
                </c:pt>
                <c:pt idx="1514">
                  <c:v>16.75</c:v>
                </c:pt>
                <c:pt idx="1515">
                  <c:v>16.690000000000001</c:v>
                </c:pt>
                <c:pt idx="1516">
                  <c:v>16.309999999999999</c:v>
                </c:pt>
                <c:pt idx="1517">
                  <c:v>16.649999999999999</c:v>
                </c:pt>
                <c:pt idx="1518">
                  <c:v>16.739999999999998</c:v>
                </c:pt>
                <c:pt idx="1519">
                  <c:v>17.45</c:v>
                </c:pt>
                <c:pt idx="1520">
                  <c:v>17.559999999999999</c:v>
                </c:pt>
                <c:pt idx="1521">
                  <c:v>17.66</c:v>
                </c:pt>
                <c:pt idx="1522">
                  <c:v>18.309999999999999</c:v>
                </c:pt>
                <c:pt idx="1523">
                  <c:v>18.600000000000001</c:v>
                </c:pt>
                <c:pt idx="1524">
                  <c:v>18.43</c:v>
                </c:pt>
                <c:pt idx="1525">
                  <c:v>18.600000000000001</c:v>
                </c:pt>
                <c:pt idx="1526">
                  <c:v>19.190000000000001</c:v>
                </c:pt>
                <c:pt idx="1527">
                  <c:v>19.149999999999999</c:v>
                </c:pt>
                <c:pt idx="1528">
                  <c:v>18.91</c:v>
                </c:pt>
                <c:pt idx="1529">
                  <c:v>18.809999999999999</c:v>
                </c:pt>
                <c:pt idx="1530">
                  <c:v>18.77</c:v>
                </c:pt>
                <c:pt idx="1531">
                  <c:v>19.11</c:v>
                </c:pt>
                <c:pt idx="1532">
                  <c:v>18.75</c:v>
                </c:pt>
                <c:pt idx="1533">
                  <c:v>18.62</c:v>
                </c:pt>
                <c:pt idx="1534">
                  <c:v>18.89</c:v>
                </c:pt>
                <c:pt idx="1535">
                  <c:v>19.37</c:v>
                </c:pt>
                <c:pt idx="1536">
                  <c:v>18.920000000000002</c:v>
                </c:pt>
                <c:pt idx="1537">
                  <c:v>18.28</c:v>
                </c:pt>
                <c:pt idx="1538">
                  <c:v>18.21</c:v>
                </c:pt>
                <c:pt idx="1539">
                  <c:v>18.559999999999999</c:v>
                </c:pt>
                <c:pt idx="1540">
                  <c:v>18.47</c:v>
                </c:pt>
                <c:pt idx="1541">
                  <c:v>17.309999999999999</c:v>
                </c:pt>
                <c:pt idx="1542">
                  <c:v>17.5</c:v>
                </c:pt>
                <c:pt idx="1543">
                  <c:v>17.48</c:v>
                </c:pt>
                <c:pt idx="1544">
                  <c:v>18.29</c:v>
                </c:pt>
                <c:pt idx="1545">
                  <c:v>18.7</c:v>
                </c:pt>
                <c:pt idx="1546">
                  <c:v>18.559999999999999</c:v>
                </c:pt>
                <c:pt idx="1547">
                  <c:v>18.100000000000001</c:v>
                </c:pt>
                <c:pt idx="1548">
                  <c:v>18.05</c:v>
                </c:pt>
                <c:pt idx="1549">
                  <c:v>18.95</c:v>
                </c:pt>
                <c:pt idx="1550">
                  <c:v>19.36</c:v>
                </c:pt>
                <c:pt idx="1551">
                  <c:v>19.010000000000002</c:v>
                </c:pt>
                <c:pt idx="1552">
                  <c:v>19.190000000000001</c:v>
                </c:pt>
                <c:pt idx="1553">
                  <c:v>19.45</c:v>
                </c:pt>
                <c:pt idx="1554">
                  <c:v>19.98</c:v>
                </c:pt>
                <c:pt idx="1555">
                  <c:v>20.81</c:v>
                </c:pt>
                <c:pt idx="1556">
                  <c:v>20.9</c:v>
                </c:pt>
                <c:pt idx="1557">
                  <c:v>20.5</c:v>
                </c:pt>
                <c:pt idx="1558">
                  <c:v>20.329999999999998</c:v>
                </c:pt>
                <c:pt idx="1559">
                  <c:v>20.309999999999999</c:v>
                </c:pt>
                <c:pt idx="1560">
                  <c:v>20.43</c:v>
                </c:pt>
                <c:pt idx="1561">
                  <c:v>20.190000000000001</c:v>
                </c:pt>
                <c:pt idx="1562">
                  <c:v>19.87</c:v>
                </c:pt>
                <c:pt idx="1563">
                  <c:v>19.68</c:v>
                </c:pt>
                <c:pt idx="1564">
                  <c:v>20</c:v>
                </c:pt>
                <c:pt idx="1565">
                  <c:v>19.86</c:v>
                </c:pt>
                <c:pt idx="1566">
                  <c:v>20.47</c:v>
                </c:pt>
                <c:pt idx="1567">
                  <c:v>20.71</c:v>
                </c:pt>
                <c:pt idx="1568">
                  <c:v>20.13</c:v>
                </c:pt>
                <c:pt idx="1569">
                  <c:v>19.86</c:v>
                </c:pt>
                <c:pt idx="1570">
                  <c:v>20.8</c:v>
                </c:pt>
                <c:pt idx="1571">
                  <c:v>21.17</c:v>
                </c:pt>
                <c:pt idx="1572">
                  <c:v>21.09</c:v>
                </c:pt>
                <c:pt idx="1573">
                  <c:v>21.1</c:v>
                </c:pt>
                <c:pt idx="1574">
                  <c:v>21.3</c:v>
                </c:pt>
                <c:pt idx="1575">
                  <c:v>20.79</c:v>
                </c:pt>
                <c:pt idx="1576">
                  <c:v>19.72</c:v>
                </c:pt>
                <c:pt idx="1577">
                  <c:v>19.59</c:v>
                </c:pt>
                <c:pt idx="1578">
                  <c:v>19.7</c:v>
                </c:pt>
                <c:pt idx="1579">
                  <c:v>19.7</c:v>
                </c:pt>
                <c:pt idx="1580">
                  <c:v>18.86</c:v>
                </c:pt>
                <c:pt idx="1581">
                  <c:v>18.989999999999998</c:v>
                </c:pt>
                <c:pt idx="1582">
                  <c:v>19.09</c:v>
                </c:pt>
                <c:pt idx="1583">
                  <c:v>18.760000000000002</c:v>
                </c:pt>
                <c:pt idx="1584">
                  <c:v>17.91</c:v>
                </c:pt>
                <c:pt idx="1585">
                  <c:v>17.68</c:v>
                </c:pt>
                <c:pt idx="1586">
                  <c:v>17.87</c:v>
                </c:pt>
                <c:pt idx="1587">
                  <c:v>17.38</c:v>
                </c:pt>
                <c:pt idx="1588">
                  <c:v>17.55</c:v>
                </c:pt>
                <c:pt idx="1589">
                  <c:v>17.71</c:v>
                </c:pt>
                <c:pt idx="1590">
                  <c:v>18.5</c:v>
                </c:pt>
                <c:pt idx="1591">
                  <c:v>18.86</c:v>
                </c:pt>
                <c:pt idx="1592">
                  <c:v>18.149999999999999</c:v>
                </c:pt>
                <c:pt idx="1593">
                  <c:v>18.22</c:v>
                </c:pt>
                <c:pt idx="1594">
                  <c:v>18.32</c:v>
                </c:pt>
                <c:pt idx="1595">
                  <c:v>17.239999999999998</c:v>
                </c:pt>
                <c:pt idx="1596">
                  <c:v>18.12</c:v>
                </c:pt>
                <c:pt idx="1597">
                  <c:v>17.68</c:v>
                </c:pt>
                <c:pt idx="1598">
                  <c:v>17.399999999999999</c:v>
                </c:pt>
                <c:pt idx="1599">
                  <c:v>18.809999999999999</c:v>
                </c:pt>
                <c:pt idx="1600">
                  <c:v>18.88</c:v>
                </c:pt>
                <c:pt idx="1601">
                  <c:v>20.13</c:v>
                </c:pt>
                <c:pt idx="1602">
                  <c:v>19.96</c:v>
                </c:pt>
                <c:pt idx="1603">
                  <c:v>21.59</c:v>
                </c:pt>
                <c:pt idx="1604">
                  <c:v>21.84</c:v>
                </c:pt>
                <c:pt idx="1605">
                  <c:v>22.51</c:v>
                </c:pt>
                <c:pt idx="1606">
                  <c:v>21.79</c:v>
                </c:pt>
                <c:pt idx="1607">
                  <c:v>22.59</c:v>
                </c:pt>
                <c:pt idx="1608">
                  <c:v>22.04</c:v>
                </c:pt>
                <c:pt idx="1609">
                  <c:v>21.44</c:v>
                </c:pt>
                <c:pt idx="1610">
                  <c:v>21.17</c:v>
                </c:pt>
                <c:pt idx="1611">
                  <c:v>20.440000000000001</c:v>
                </c:pt>
                <c:pt idx="1612">
                  <c:v>20.32</c:v>
                </c:pt>
                <c:pt idx="1613">
                  <c:v>20.07</c:v>
                </c:pt>
                <c:pt idx="1614">
                  <c:v>20.7</c:v>
                </c:pt>
                <c:pt idx="1615">
                  <c:v>19.98</c:v>
                </c:pt>
                <c:pt idx="1616">
                  <c:v>19.48</c:v>
                </c:pt>
                <c:pt idx="1617">
                  <c:v>19.600000000000001</c:v>
                </c:pt>
                <c:pt idx="1618">
                  <c:v>19.5</c:v>
                </c:pt>
                <c:pt idx="1619">
                  <c:v>19.62</c:v>
                </c:pt>
                <c:pt idx="1620">
                  <c:v>20.21</c:v>
                </c:pt>
                <c:pt idx="1621">
                  <c:v>19.739999999999998</c:v>
                </c:pt>
                <c:pt idx="1622">
                  <c:v>18.920000000000002</c:v>
                </c:pt>
                <c:pt idx="1623">
                  <c:v>18.72</c:v>
                </c:pt>
                <c:pt idx="1624">
                  <c:v>18.54</c:v>
                </c:pt>
                <c:pt idx="1625">
                  <c:v>18.14</c:v>
                </c:pt>
                <c:pt idx="1626">
                  <c:v>18.5</c:v>
                </c:pt>
                <c:pt idx="1627">
                  <c:v>19.21</c:v>
                </c:pt>
                <c:pt idx="1628">
                  <c:v>19.350000000000001</c:v>
                </c:pt>
                <c:pt idx="1629">
                  <c:v>19.579999999999998</c:v>
                </c:pt>
                <c:pt idx="1630">
                  <c:v>19.600000000000001</c:v>
                </c:pt>
                <c:pt idx="1631">
                  <c:v>19.66</c:v>
                </c:pt>
                <c:pt idx="1632">
                  <c:v>19.61</c:v>
                </c:pt>
                <c:pt idx="1633">
                  <c:v>19.14</c:v>
                </c:pt>
                <c:pt idx="1634">
                  <c:v>20.02</c:v>
                </c:pt>
                <c:pt idx="1635">
                  <c:v>18.61</c:v>
                </c:pt>
                <c:pt idx="1636">
                  <c:v>17.95</c:v>
                </c:pt>
                <c:pt idx="1637">
                  <c:v>18.57</c:v>
                </c:pt>
                <c:pt idx="1638">
                  <c:v>17.73</c:v>
                </c:pt>
                <c:pt idx="1639">
                  <c:v>18.809999999999999</c:v>
                </c:pt>
                <c:pt idx="1640">
                  <c:v>18.89</c:v>
                </c:pt>
                <c:pt idx="1641">
                  <c:v>16.62</c:v>
                </c:pt>
                <c:pt idx="1642">
                  <c:v>17.04</c:v>
                </c:pt>
                <c:pt idx="1643">
                  <c:v>19.98</c:v>
                </c:pt>
                <c:pt idx="1644">
                  <c:v>19.82</c:v>
                </c:pt>
                <c:pt idx="1645">
                  <c:v>20</c:v>
                </c:pt>
                <c:pt idx="1646">
                  <c:v>18.2</c:v>
                </c:pt>
                <c:pt idx="1647">
                  <c:v>25.67</c:v>
                </c:pt>
                <c:pt idx="1648">
                  <c:v>23.56</c:v>
                </c:pt>
                <c:pt idx="1649">
                  <c:v>27.04</c:v>
                </c:pt>
                <c:pt idx="1650">
                  <c:v>25.78</c:v>
                </c:pt>
                <c:pt idx="1651">
                  <c:v>27.7</c:v>
                </c:pt>
                <c:pt idx="1652">
                  <c:v>27.18</c:v>
                </c:pt>
                <c:pt idx="1653">
                  <c:v>29.2</c:v>
                </c:pt>
                <c:pt idx="1654">
                  <c:v>31</c:v>
                </c:pt>
                <c:pt idx="1655">
                  <c:v>29</c:v>
                </c:pt>
                <c:pt idx="1656">
                  <c:v>33.5</c:v>
                </c:pt>
                <c:pt idx="1657">
                  <c:v>33.549999999999997</c:v>
                </c:pt>
                <c:pt idx="1658">
                  <c:v>32.049999999999997</c:v>
                </c:pt>
                <c:pt idx="1659">
                  <c:v>31.01</c:v>
                </c:pt>
                <c:pt idx="1660">
                  <c:v>39.49</c:v>
                </c:pt>
                <c:pt idx="1661">
                  <c:v>37.35</c:v>
                </c:pt>
                <c:pt idx="1662">
                  <c:v>39.1</c:v>
                </c:pt>
                <c:pt idx="1663">
                  <c:v>34.76</c:v>
                </c:pt>
                <c:pt idx="1664">
                  <c:v>30.72</c:v>
                </c:pt>
                <c:pt idx="1665">
                  <c:v>30.25</c:v>
                </c:pt>
                <c:pt idx="1666">
                  <c:v>26.75</c:v>
                </c:pt>
                <c:pt idx="1667">
                  <c:v>30.1</c:v>
                </c:pt>
                <c:pt idx="1668">
                  <c:v>27.12</c:v>
                </c:pt>
                <c:pt idx="1669">
                  <c:v>25.47</c:v>
                </c:pt>
                <c:pt idx="1670">
                  <c:v>23.48</c:v>
                </c:pt>
                <c:pt idx="1671">
                  <c:v>19.22</c:v>
                </c:pt>
                <c:pt idx="1672">
                  <c:v>18.75</c:v>
                </c:pt>
                <c:pt idx="1673">
                  <c:v>17.43</c:v>
                </c:pt>
                <c:pt idx="1674">
                  <c:v>15.86</c:v>
                </c:pt>
                <c:pt idx="1675">
                  <c:v>16.14</c:v>
                </c:pt>
                <c:pt idx="1676">
                  <c:v>16.170000000000002</c:v>
                </c:pt>
                <c:pt idx="1677">
                  <c:v>16.11</c:v>
                </c:pt>
                <c:pt idx="1678">
                  <c:v>15.65</c:v>
                </c:pt>
                <c:pt idx="1679">
                  <c:v>16.37</c:v>
                </c:pt>
                <c:pt idx="1680">
                  <c:v>16.52</c:v>
                </c:pt>
                <c:pt idx="1681">
                  <c:v>17.690000000000001</c:v>
                </c:pt>
                <c:pt idx="1682">
                  <c:v>17.600000000000001</c:v>
                </c:pt>
                <c:pt idx="1683">
                  <c:v>16.329999999999998</c:v>
                </c:pt>
                <c:pt idx="1684">
                  <c:v>17.079999999999998</c:v>
                </c:pt>
                <c:pt idx="1685">
                  <c:v>17.21</c:v>
                </c:pt>
                <c:pt idx="1686">
                  <c:v>16.82</c:v>
                </c:pt>
                <c:pt idx="1687">
                  <c:v>17.8</c:v>
                </c:pt>
                <c:pt idx="1688">
                  <c:v>18.38</c:v>
                </c:pt>
                <c:pt idx="1689">
                  <c:v>18.399999999999999</c:v>
                </c:pt>
                <c:pt idx="1690">
                  <c:v>18.559999999999999</c:v>
                </c:pt>
                <c:pt idx="1691">
                  <c:v>18.88</c:v>
                </c:pt>
                <c:pt idx="1692">
                  <c:v>19.28</c:v>
                </c:pt>
                <c:pt idx="1693">
                  <c:v>19.190000000000001</c:v>
                </c:pt>
                <c:pt idx="1694">
                  <c:v>19.68</c:v>
                </c:pt>
                <c:pt idx="1695">
                  <c:v>19.600000000000001</c:v>
                </c:pt>
                <c:pt idx="1696">
                  <c:v>20.190000000000001</c:v>
                </c:pt>
                <c:pt idx="1697">
                  <c:v>19.86</c:v>
                </c:pt>
                <c:pt idx="1698">
                  <c:v>19.920000000000002</c:v>
                </c:pt>
                <c:pt idx="1699">
                  <c:v>20.05</c:v>
                </c:pt>
                <c:pt idx="1700">
                  <c:v>22</c:v>
                </c:pt>
                <c:pt idx="1701">
                  <c:v>20.28</c:v>
                </c:pt>
                <c:pt idx="1702">
                  <c:v>19.760000000000002</c:v>
                </c:pt>
                <c:pt idx="1703">
                  <c:v>19.13</c:v>
                </c:pt>
                <c:pt idx="1704">
                  <c:v>19.12</c:v>
                </c:pt>
                <c:pt idx="1705">
                  <c:v>18.66</c:v>
                </c:pt>
                <c:pt idx="1706">
                  <c:v>18.440000000000001</c:v>
                </c:pt>
                <c:pt idx="1707">
                  <c:v>18.55</c:v>
                </c:pt>
                <c:pt idx="1708">
                  <c:v>19.11</c:v>
                </c:pt>
                <c:pt idx="1709">
                  <c:v>18.850000000000001</c:v>
                </c:pt>
                <c:pt idx="1710">
                  <c:v>18.38</c:v>
                </c:pt>
                <c:pt idx="1711">
                  <c:v>18.739999999999998</c:v>
                </c:pt>
                <c:pt idx="1712">
                  <c:v>18.899999999999999</c:v>
                </c:pt>
                <c:pt idx="1713">
                  <c:v>18.22</c:v>
                </c:pt>
                <c:pt idx="1714">
                  <c:v>18.16</c:v>
                </c:pt>
                <c:pt idx="1715">
                  <c:v>17.600000000000001</c:v>
                </c:pt>
                <c:pt idx="1716">
                  <c:v>17.579999999999998</c:v>
                </c:pt>
                <c:pt idx="1717">
                  <c:v>17.72</c:v>
                </c:pt>
                <c:pt idx="1718">
                  <c:v>17.2</c:v>
                </c:pt>
                <c:pt idx="1719">
                  <c:v>16.850000000000001</c:v>
                </c:pt>
                <c:pt idx="1720">
                  <c:v>16.850000000000001</c:v>
                </c:pt>
                <c:pt idx="1721">
                  <c:v>16.91</c:v>
                </c:pt>
                <c:pt idx="1722">
                  <c:v>16.399999999999999</c:v>
                </c:pt>
                <c:pt idx="1723">
                  <c:v>16.649999999999999</c:v>
                </c:pt>
                <c:pt idx="1724">
                  <c:v>17.52</c:v>
                </c:pt>
                <c:pt idx="1725">
                  <c:v>17.25</c:v>
                </c:pt>
                <c:pt idx="1726">
                  <c:v>17.5</c:v>
                </c:pt>
                <c:pt idx="1727">
                  <c:v>17.489999999999998</c:v>
                </c:pt>
                <c:pt idx="1728">
                  <c:v>16.899999999999999</c:v>
                </c:pt>
                <c:pt idx="1729">
                  <c:v>16.2</c:v>
                </c:pt>
                <c:pt idx="1730">
                  <c:v>17.559999999999999</c:v>
                </c:pt>
                <c:pt idx="1731">
                  <c:v>17.5</c:v>
                </c:pt>
                <c:pt idx="1732">
                  <c:v>17.39</c:v>
                </c:pt>
                <c:pt idx="1733">
                  <c:v>17.34</c:v>
                </c:pt>
                <c:pt idx="1734">
                  <c:v>17.34</c:v>
                </c:pt>
                <c:pt idx="1735">
                  <c:v>18.7</c:v>
                </c:pt>
                <c:pt idx="1736">
                  <c:v>18.940000000000001</c:v>
                </c:pt>
                <c:pt idx="1737">
                  <c:v>20.27</c:v>
                </c:pt>
                <c:pt idx="1738">
                  <c:v>18.27</c:v>
                </c:pt>
                <c:pt idx="1739">
                  <c:v>18.5</c:v>
                </c:pt>
                <c:pt idx="1740">
                  <c:v>19.55</c:v>
                </c:pt>
                <c:pt idx="1741">
                  <c:v>18.64</c:v>
                </c:pt>
                <c:pt idx="1742">
                  <c:v>17.760000000000002</c:v>
                </c:pt>
                <c:pt idx="1743">
                  <c:v>17.11</c:v>
                </c:pt>
                <c:pt idx="1744">
                  <c:v>16.95</c:v>
                </c:pt>
                <c:pt idx="1745">
                  <c:v>16.149999999999999</c:v>
                </c:pt>
                <c:pt idx="1746">
                  <c:v>16.010000000000002</c:v>
                </c:pt>
                <c:pt idx="1747">
                  <c:v>15.82</c:v>
                </c:pt>
                <c:pt idx="1748">
                  <c:v>16.170000000000002</c:v>
                </c:pt>
                <c:pt idx="1749">
                  <c:v>16.3</c:v>
                </c:pt>
                <c:pt idx="1750">
                  <c:v>17</c:v>
                </c:pt>
                <c:pt idx="1751">
                  <c:v>16.12</c:v>
                </c:pt>
                <c:pt idx="1752">
                  <c:v>16.25</c:v>
                </c:pt>
                <c:pt idx="1753">
                  <c:v>15.52</c:v>
                </c:pt>
                <c:pt idx="1754">
                  <c:v>15.08</c:v>
                </c:pt>
                <c:pt idx="1755">
                  <c:v>14.81</c:v>
                </c:pt>
                <c:pt idx="1756">
                  <c:v>14.47</c:v>
                </c:pt>
                <c:pt idx="1757">
                  <c:v>14.5</c:v>
                </c:pt>
                <c:pt idx="1758">
                  <c:v>14.48</c:v>
                </c:pt>
                <c:pt idx="1759">
                  <c:v>12.04</c:v>
                </c:pt>
                <c:pt idx="1760">
                  <c:v>13.26</c:v>
                </c:pt>
                <c:pt idx="1761">
                  <c:v>12.95</c:v>
                </c:pt>
                <c:pt idx="1762">
                  <c:v>12.82</c:v>
                </c:pt>
                <c:pt idx="1763">
                  <c:v>13.55</c:v>
                </c:pt>
                <c:pt idx="1764">
                  <c:v>13.11</c:v>
                </c:pt>
                <c:pt idx="1765">
                  <c:v>11.49</c:v>
                </c:pt>
                <c:pt idx="1766">
                  <c:v>12.24</c:v>
                </c:pt>
                <c:pt idx="1767">
                  <c:v>13.52</c:v>
                </c:pt>
                <c:pt idx="1768">
                  <c:v>13.74</c:v>
                </c:pt>
                <c:pt idx="1769">
                  <c:v>13.72</c:v>
                </c:pt>
                <c:pt idx="1770">
                  <c:v>14.21</c:v>
                </c:pt>
                <c:pt idx="1771">
                  <c:v>14.7</c:v>
                </c:pt>
                <c:pt idx="1772">
                  <c:v>15.1</c:v>
                </c:pt>
                <c:pt idx="1773">
                  <c:v>15.2</c:v>
                </c:pt>
                <c:pt idx="1774">
                  <c:v>14.63</c:v>
                </c:pt>
                <c:pt idx="1775">
                  <c:v>15.7</c:v>
                </c:pt>
                <c:pt idx="1776">
                  <c:v>15.71</c:v>
                </c:pt>
                <c:pt idx="1777">
                  <c:v>14.18</c:v>
                </c:pt>
                <c:pt idx="1778">
                  <c:v>15.05</c:v>
                </c:pt>
                <c:pt idx="1779">
                  <c:v>14.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EA1A-4D56-9D2A-256F31221EC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892836432"/>
        <c:axId val="799277632"/>
      </c:scatterChart>
      <c:valAx>
        <c:axId val="892836432"/>
        <c:scaling>
          <c:orientation val="minMax"/>
          <c:max val="45293"/>
          <c:min val="35796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m/d/yyyy" sourceLinked="0"/>
        <c:majorTickMark val="cross"/>
        <c:minorTickMark val="none"/>
        <c:tickLblPos val="nextTo"/>
        <c:spPr>
          <a:noFill/>
          <a:ln w="9525" cap="flat" cmpd="sng" algn="ctr">
            <a:solidFill>
              <a:sysClr val="windowText" lastClr="000000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200" b="1" i="0" u="none" strike="noStrike" kern="1200" baseline="0">
                <a:ln>
                  <a:noFill/>
                </a:ln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799277632"/>
        <c:crosses val="autoZero"/>
        <c:crossBetween val="midCat"/>
        <c:majorUnit val="365.25"/>
        <c:minorUnit val="30"/>
      </c:valAx>
      <c:valAx>
        <c:axId val="7992776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892836432"/>
        <c:crosses val="autoZero"/>
        <c:crossBetween val="midCat"/>
      </c:valAx>
      <c:spPr>
        <a:solidFill>
          <a:sysClr val="window" lastClr="FFFFFF">
            <a:lumMod val="95000"/>
          </a:sysClr>
        </a:solidFill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7.7366737050884885E-2"/>
          <c:y val="0.42109980474094549"/>
          <c:w val="0.22854232482587558"/>
          <c:h val="4.7356697942127254E-2"/>
        </c:manualLayout>
      </c:layout>
      <c:overlay val="0"/>
      <c:spPr>
        <a:solidFill>
          <a:srgbClr val="44546A">
            <a:lumMod val="40000"/>
            <a:lumOff val="60000"/>
          </a:srgb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513428"/>
          </a:xfrm>
          <a:prstGeom prst="rect">
            <a:avLst/>
          </a:prstGeom>
        </p:spPr>
        <p:txBody>
          <a:bodyPr vert="horz" lIns="99057" tIns="49528" rIns="99057" bIns="49528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513428"/>
          </a:xfrm>
          <a:prstGeom prst="rect">
            <a:avLst/>
          </a:prstGeom>
        </p:spPr>
        <p:txBody>
          <a:bodyPr vert="horz" lIns="99057" tIns="49528" rIns="99057" bIns="49528" rtlCol="0"/>
          <a:lstStyle>
            <a:lvl1pPr algn="r">
              <a:defRPr sz="1300"/>
            </a:lvl1pPr>
          </a:lstStyle>
          <a:p>
            <a:fld id="{61BB5EDD-B337-4DC6-82B5-8A596204FC0C}" type="datetimeFigureOut">
              <a:rPr lang="en-US" smtClean="0"/>
              <a:t>9/29/2022</a:t>
            </a:fld>
            <a:endParaRPr lang="en-US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482600" y="1279525"/>
            <a:ext cx="6137275" cy="34528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57" tIns="49528" rIns="99057" bIns="49528" rtlCol="0" anchor="ctr"/>
          <a:lstStyle/>
          <a:p>
            <a:endParaRPr lang="en-US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710248" y="4924643"/>
            <a:ext cx="5681980" cy="4029254"/>
          </a:xfrm>
          <a:prstGeom prst="rect">
            <a:avLst/>
          </a:prstGeom>
        </p:spPr>
        <p:txBody>
          <a:bodyPr vert="horz" lIns="99057" tIns="49528" rIns="99057" bIns="49528" rtlCol="0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9719598"/>
            <a:ext cx="3077739" cy="513427"/>
          </a:xfrm>
          <a:prstGeom prst="rect">
            <a:avLst/>
          </a:prstGeom>
        </p:spPr>
        <p:txBody>
          <a:bodyPr vert="horz" lIns="99057" tIns="49528" rIns="99057" bIns="49528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4023092" y="9719598"/>
            <a:ext cx="3077739" cy="513427"/>
          </a:xfrm>
          <a:prstGeom prst="rect">
            <a:avLst/>
          </a:prstGeom>
        </p:spPr>
        <p:txBody>
          <a:bodyPr vert="horz" lIns="99057" tIns="49528" rIns="99057" bIns="49528" rtlCol="0" anchor="b"/>
          <a:lstStyle>
            <a:lvl1pPr algn="r">
              <a:defRPr sz="1300"/>
            </a:lvl1pPr>
          </a:lstStyle>
          <a:p>
            <a:fld id="{6212BD83-6CC3-4384-BD7E-6EE89614CA96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64715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6114" name="Rectangle 2">
            <a:extLst>
              <a:ext uri="{FF2B5EF4-FFF2-40B4-BE49-F238E27FC236}">
                <a16:creationId xmlns:a16="http://schemas.microsoft.com/office/drawing/2014/main" id="{07AAECC8-DA68-4998-9F7D-0AAA1C44C159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73038" y="835025"/>
            <a:ext cx="7400926" cy="4164013"/>
          </a:xfrm>
          <a:ln/>
        </p:spPr>
      </p:sp>
      <p:sp>
        <p:nvSpPr>
          <p:cNvPr id="346115" name="Rectangle 3">
            <a:extLst>
              <a:ext uri="{FF2B5EF4-FFF2-40B4-BE49-F238E27FC236}">
                <a16:creationId xmlns:a16="http://schemas.microsoft.com/office/drawing/2014/main" id="{1B83658E-A7EE-41C4-968C-8B03FB2DC4BE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937133" y="5276404"/>
            <a:ext cx="5165735" cy="499925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8556285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922" name="Rectangle 2">
            <a:extLst>
              <a:ext uri="{FF2B5EF4-FFF2-40B4-BE49-F238E27FC236}">
                <a16:creationId xmlns:a16="http://schemas.microsoft.com/office/drawing/2014/main" id="{068559AD-9F65-4D5F-A876-EBDD47EE24E6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80975" y="833438"/>
            <a:ext cx="7404100" cy="4165600"/>
          </a:xfrm>
          <a:ln/>
        </p:spPr>
      </p:sp>
      <p:sp>
        <p:nvSpPr>
          <p:cNvPr id="209923" name="Rectangle 3">
            <a:extLst>
              <a:ext uri="{FF2B5EF4-FFF2-40B4-BE49-F238E27FC236}">
                <a16:creationId xmlns:a16="http://schemas.microsoft.com/office/drawing/2014/main" id="{2511877D-B971-4EBE-93C0-A83CC4E44C18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938777" y="5279957"/>
            <a:ext cx="5162447" cy="499748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0295" tIns="50148" rIns="100295" bIns="50148"/>
          <a:lstStyle/>
          <a:p>
            <a:r>
              <a:rPr lang="en-GB" altLang="pt-BR" b="1"/>
              <a:t>Fotos do caranguejo e tatui</a:t>
            </a:r>
          </a:p>
          <a:p>
            <a:endParaRPr lang="en-GB" altLang="pt-BR" b="1"/>
          </a:p>
          <a:p>
            <a:r>
              <a:rPr lang="en-GB" altLang="pt-BR"/>
              <a:t>All these years of subsea operations have brought us surprises that, as at a first glance, could really introduce us to a script of a science fiction movie, like the Predator, with apparent risk to our offshore crews. </a:t>
            </a:r>
          </a:p>
        </p:txBody>
      </p:sp>
    </p:spTree>
    <p:extLst>
      <p:ext uri="{BB962C8B-B14F-4D97-AF65-F5344CB8AC3E}">
        <p14:creationId xmlns:p14="http://schemas.microsoft.com/office/powerpoint/2010/main" val="8534161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3522" name="Rectangle 2">
            <a:extLst>
              <a:ext uri="{FF2B5EF4-FFF2-40B4-BE49-F238E27FC236}">
                <a16:creationId xmlns:a16="http://schemas.microsoft.com/office/drawing/2014/main" id="{913473EF-E8F7-47E8-9037-75B664DF6A30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80975" y="833438"/>
            <a:ext cx="7404100" cy="4165600"/>
          </a:xfrm>
          <a:ln/>
        </p:spPr>
      </p:sp>
      <p:sp>
        <p:nvSpPr>
          <p:cNvPr id="363523" name="Rectangle 3">
            <a:extLst>
              <a:ext uri="{FF2B5EF4-FFF2-40B4-BE49-F238E27FC236}">
                <a16:creationId xmlns:a16="http://schemas.microsoft.com/office/drawing/2014/main" id="{39E1257C-9166-4854-9392-89B508377711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938777" y="5279957"/>
            <a:ext cx="5162447" cy="499748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0295" tIns="50148" rIns="100295" bIns="50148"/>
          <a:lstStyle/>
          <a:p>
            <a:r>
              <a:rPr lang="en-GB" altLang="pt-BR" b="1"/>
              <a:t>Operador de ROV no refeitorio</a:t>
            </a:r>
          </a:p>
          <a:p>
            <a:endParaRPr lang="en-GB" altLang="pt-BR" b="1"/>
          </a:p>
          <a:p>
            <a:r>
              <a:rPr lang="en-GB" altLang="pt-BR"/>
              <a:t>But, as in the movies, normally there is a happy end...</a:t>
            </a:r>
          </a:p>
          <a:p>
            <a:r>
              <a:rPr lang="en-GB" altLang="pt-BR"/>
              <a:t>As well as may be seen on the pie chart on the right side of this slide, subsea equipment has brought a significant positive contribution for the attractive economical performance of our floating production systems in Campos Basin, in spite of some operational unexpected hurdles that should be overcome.</a:t>
            </a:r>
          </a:p>
        </p:txBody>
      </p:sp>
    </p:spTree>
    <p:extLst>
      <p:ext uri="{BB962C8B-B14F-4D97-AF65-F5344CB8AC3E}">
        <p14:creationId xmlns:p14="http://schemas.microsoft.com/office/powerpoint/2010/main" val="33209877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1.svg"/><Relationship Id="rId4" Type="http://schemas.openxmlformats.org/officeDocument/2006/relationships/image" Target="../media/image10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4.pn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4.pn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4.png"/><Relationship Id="rId5" Type="http://schemas.openxmlformats.org/officeDocument/2006/relationships/image" Target="../media/image18.svg"/><Relationship Id="rId4" Type="http://schemas.openxmlformats.org/officeDocument/2006/relationships/image" Target="../media/image17.pn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4.png"/><Relationship Id="rId5" Type="http://schemas.openxmlformats.org/officeDocument/2006/relationships/image" Target="../media/image18.svg"/><Relationship Id="rId4" Type="http://schemas.openxmlformats.org/officeDocument/2006/relationships/image" Target="../media/image17.pn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18.sv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18.sv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4.pn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4.pn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4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D2E7601-84B3-4212-941F-D31D335653A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F647A227-7B91-4B2B-848B-C04391D884F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  <a:endParaRPr lang="en-US"/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BDF80C38-628E-4A41-984D-3469B2E3CF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ECECB6-DCA8-44B7-BF17-6EDCBF7F38A1}" type="datetimeFigureOut">
              <a:rPr lang="en-US" smtClean="0"/>
              <a:t>9/29/2022</a:t>
            </a:fld>
            <a:endParaRPr lang="en-US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740FB606-8A97-415C-ADDE-B76FBD4D90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D3B788A6-7A31-4656-BAC7-0CBA60CF21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502B16-518D-41CC-8091-2F66D1D00E9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347695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04E3D5E-88CC-482D-88CB-38B9166814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242334D0-1817-41D9-A75B-08514B982F9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73BAE8CC-5F2C-4D01-BA29-E8464DEF13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ECECB6-DCA8-44B7-BF17-6EDCBF7F38A1}" type="datetimeFigureOut">
              <a:rPr lang="en-US" smtClean="0"/>
              <a:t>9/29/2022</a:t>
            </a:fld>
            <a:endParaRPr lang="en-US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52839BA4-8089-4555-993A-29F1D2155A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D4E7A1D0-03F5-45EF-BAE2-3195624475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502B16-518D-41CC-8091-2F66D1D00E9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571648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541A98BF-2507-4741-ADB3-CC5A772C602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E1951A26-C51C-4559-97D8-D0B3750233C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11700DE2-0515-41D0-AA2B-A1A5E82897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ECECB6-DCA8-44B7-BF17-6EDCBF7F38A1}" type="datetimeFigureOut">
              <a:rPr lang="en-US" smtClean="0"/>
              <a:t>9/29/2022</a:t>
            </a:fld>
            <a:endParaRPr lang="en-US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69B7287E-3F9B-4DAF-AEC9-986D7421D5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F27443EF-C914-4DA6-B29F-AFCA2CDD0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502B16-518D-41CC-8091-2F66D1D00E9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10268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5661517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>
  <p:cSld name="Título, conteúdo e 2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9F3932F-24A4-48C5-9D3E-6F8D7E96BE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000" y="44450"/>
            <a:ext cx="9889067" cy="1143000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7573EFEF-B060-4E82-A925-9F5EAB7CBE8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775884" y="1600200"/>
            <a:ext cx="4986867" cy="50688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9C31BE78-F6BA-4F17-ABD5-D1AF3880768E}"/>
              </a:ext>
            </a:extLst>
          </p:cNvPr>
          <p:cNvSpPr>
            <a:spLocks noGrp="1"/>
          </p:cNvSpPr>
          <p:nvPr>
            <p:ph sz="quarter" idx="2"/>
          </p:nvPr>
        </p:nvSpPr>
        <p:spPr>
          <a:xfrm>
            <a:off x="6965951" y="1600200"/>
            <a:ext cx="4986867" cy="24574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5" name="Espaço Reservado para Conteúdo 4">
            <a:extLst>
              <a:ext uri="{FF2B5EF4-FFF2-40B4-BE49-F238E27FC236}">
                <a16:creationId xmlns:a16="http://schemas.microsoft.com/office/drawing/2014/main" id="{7F4F3C90-EDFF-42D8-8654-D10E0A8F4BDB}"/>
              </a:ext>
            </a:extLst>
          </p:cNvPr>
          <p:cNvSpPr>
            <a:spLocks noGrp="1"/>
          </p:cNvSpPr>
          <p:nvPr>
            <p:ph sz="quarter" idx="3"/>
          </p:nvPr>
        </p:nvSpPr>
        <p:spPr>
          <a:xfrm>
            <a:off x="6965951" y="4210050"/>
            <a:ext cx="4986867" cy="24590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6" name="Espaço Reservado para Data 5">
            <a:extLst>
              <a:ext uri="{FF2B5EF4-FFF2-40B4-BE49-F238E27FC236}">
                <a16:creationId xmlns:a16="http://schemas.microsoft.com/office/drawing/2014/main" id="{F187A9F3-4571-485C-B1D7-59E9B6E6807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7" name="Espaço Reservado para Rodapé 6">
            <a:extLst>
              <a:ext uri="{FF2B5EF4-FFF2-40B4-BE49-F238E27FC236}">
                <a16:creationId xmlns:a16="http://schemas.microsoft.com/office/drawing/2014/main" id="{3B7405EA-AAC3-40E1-81B9-1EF9F63275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65600" y="6245225"/>
            <a:ext cx="38608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8" name="Espaço Reservado para Número de Slide 7">
            <a:extLst>
              <a:ext uri="{FF2B5EF4-FFF2-40B4-BE49-F238E27FC236}">
                <a16:creationId xmlns:a16="http://schemas.microsoft.com/office/drawing/2014/main" id="{F4A4E580-151E-4D0F-A3CB-DD7925B1F6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245225"/>
            <a:ext cx="2844800" cy="476250"/>
          </a:xfrm>
        </p:spPr>
        <p:txBody>
          <a:bodyPr/>
          <a:lstStyle>
            <a:lvl1pPr>
              <a:defRPr/>
            </a:lvl1pPr>
          </a:lstStyle>
          <a:p>
            <a:fld id="{8A813EDE-0B1C-4464-830B-944BBB301A1F}" type="slidenum">
              <a:rPr lang="pt-BR" altLang="pt-BR"/>
              <a:pPr/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206291835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914400" y="2131213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t-BR"/>
              <a:t>Clique para editar o estilo do subtítulo mestre</a:t>
            </a:r>
          </a:p>
        </p:txBody>
      </p:sp>
    </p:spTree>
    <p:extLst>
      <p:ext uri="{BB962C8B-B14F-4D97-AF65-F5344CB8AC3E}">
        <p14:creationId xmlns:p14="http://schemas.microsoft.com/office/powerpoint/2010/main" val="411489807"/>
      </p:ext>
    </p:extLst>
  </p:cSld>
  <p:clrMapOvr>
    <a:masterClrMapping/>
  </p:clrMapOvr>
  <p:transition>
    <p:wipe dir="r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</p:spTree>
    <p:extLst>
      <p:ext uri="{BB962C8B-B14F-4D97-AF65-F5344CB8AC3E}">
        <p14:creationId xmlns:p14="http://schemas.microsoft.com/office/powerpoint/2010/main" val="259103926"/>
      </p:ext>
    </p:extLst>
  </p:cSld>
  <p:clrMapOvr>
    <a:masterClrMapping/>
  </p:clrMapOvr>
  <p:transition>
    <p:wipe dir="r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963084" y="4407688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</p:spTree>
    <p:extLst>
      <p:ext uri="{BB962C8B-B14F-4D97-AF65-F5344CB8AC3E}">
        <p14:creationId xmlns:p14="http://schemas.microsoft.com/office/powerpoint/2010/main" val="406055346"/>
      </p:ext>
    </p:extLst>
  </p:cSld>
  <p:clrMapOvr>
    <a:masterClrMapping/>
  </p:clrMapOvr>
  <p:transition>
    <p:wipe dir="r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260543" y="914400"/>
            <a:ext cx="5719233" cy="50815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182784" y="914400"/>
            <a:ext cx="5721349" cy="50815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</p:spTree>
    <p:extLst>
      <p:ext uri="{BB962C8B-B14F-4D97-AF65-F5344CB8AC3E}">
        <p14:creationId xmlns:p14="http://schemas.microsoft.com/office/powerpoint/2010/main" val="214888489"/>
      </p:ext>
    </p:extLst>
  </p:cSld>
  <p:clrMapOvr>
    <a:masterClrMapping/>
  </p:clrMapOvr>
  <p:transition>
    <p:wipe dir="r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193372" y="1535113"/>
            <a:ext cx="5389034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193372" y="2174875"/>
            <a:ext cx="5389034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</p:spTree>
    <p:extLst>
      <p:ext uri="{BB962C8B-B14F-4D97-AF65-F5344CB8AC3E}">
        <p14:creationId xmlns:p14="http://schemas.microsoft.com/office/powerpoint/2010/main" val="3088159131"/>
      </p:ext>
    </p:extLst>
  </p:cSld>
  <p:clrMapOvr>
    <a:masterClrMapping/>
  </p:clrMapOvr>
  <p:transition>
    <p:wipe dir="r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</p:spTree>
    <p:extLst>
      <p:ext uri="{BB962C8B-B14F-4D97-AF65-F5344CB8AC3E}">
        <p14:creationId xmlns:p14="http://schemas.microsoft.com/office/powerpoint/2010/main" val="3136520310"/>
      </p:ext>
    </p:extLst>
  </p:cSld>
  <p:clrMapOvr>
    <a:masterClrMapping/>
  </p:clrMapOvr>
  <p:transition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8AB7577-94C8-496B-8F7D-9E8F9640E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609E8485-3E47-48F0-9049-F5934BEF2AE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EB32A6B7-5A07-4C69-872D-53507305858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6068"/>
          <a:stretch/>
        </p:blipFill>
        <p:spPr>
          <a:xfrm>
            <a:off x="0" y="5904679"/>
            <a:ext cx="12192000" cy="955450"/>
          </a:xfrm>
          <a:prstGeom prst="rect">
            <a:avLst/>
          </a:prstGeom>
        </p:spPr>
      </p:pic>
      <p:pic>
        <p:nvPicPr>
          <p:cNvPr id="5" name="Imagem 4">
            <a:extLst>
              <a:ext uri="{FF2B5EF4-FFF2-40B4-BE49-F238E27FC236}">
                <a16:creationId xmlns:a16="http://schemas.microsoft.com/office/drawing/2014/main" id="{59CB2E92-8793-454F-A68A-100200B0532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94014" y="6413135"/>
            <a:ext cx="2092207" cy="450000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5681671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88026203"/>
      </p:ext>
    </p:extLst>
  </p:cSld>
  <p:clrMapOvr>
    <a:masterClrMapping/>
  </p:clrMapOvr>
  <p:transition>
    <p:wipe dir="r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09600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766736" y="273838"/>
            <a:ext cx="6815666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609600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</p:spTree>
    <p:extLst>
      <p:ext uri="{BB962C8B-B14F-4D97-AF65-F5344CB8AC3E}">
        <p14:creationId xmlns:p14="http://schemas.microsoft.com/office/powerpoint/2010/main" val="1473420370"/>
      </p:ext>
    </p:extLst>
  </p:cSld>
  <p:clrMapOvr>
    <a:masterClrMapping/>
  </p:clrMapOvr>
  <p:transition>
    <p:wipe dir="r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t-BR" noProof="0" dirty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</p:spTree>
    <p:extLst>
      <p:ext uri="{BB962C8B-B14F-4D97-AF65-F5344CB8AC3E}">
        <p14:creationId xmlns:p14="http://schemas.microsoft.com/office/powerpoint/2010/main" val="766074606"/>
      </p:ext>
    </p:extLst>
  </p:cSld>
  <p:clrMapOvr>
    <a:masterClrMapping/>
  </p:clrMapOvr>
  <p:transition>
    <p:wipe dir="r"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</p:spTree>
    <p:extLst>
      <p:ext uri="{BB962C8B-B14F-4D97-AF65-F5344CB8AC3E}">
        <p14:creationId xmlns:p14="http://schemas.microsoft.com/office/powerpoint/2010/main" val="3974861570"/>
      </p:ext>
    </p:extLst>
  </p:cSld>
  <p:clrMapOvr>
    <a:masterClrMapping/>
  </p:clrMapOvr>
  <p:transition>
    <p:wipe dir="r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993718" y="274638"/>
            <a:ext cx="2910416" cy="5721350"/>
          </a:xfrm>
          <a:prstGeom prst="rect">
            <a:avLst/>
          </a:prstGeo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260358" y="274638"/>
            <a:ext cx="8530166" cy="5721350"/>
          </a:xfrm>
        </p:spPr>
        <p:txBody>
          <a:bodyPr vert="eaVert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</p:spTree>
    <p:extLst>
      <p:ext uri="{BB962C8B-B14F-4D97-AF65-F5344CB8AC3E}">
        <p14:creationId xmlns:p14="http://schemas.microsoft.com/office/powerpoint/2010/main" val="2841642667"/>
      </p:ext>
    </p:extLst>
  </p:cSld>
  <p:clrMapOvr>
    <a:masterClrMapping/>
  </p:clrMapOvr>
  <p:transition>
    <p:wipe dir="r"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ítulo e tabe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estilo do título mestre</a:t>
            </a:r>
          </a:p>
        </p:txBody>
      </p:sp>
      <p:sp>
        <p:nvSpPr>
          <p:cNvPr id="3" name="Espaço Reservado para Tabela 2"/>
          <p:cNvSpPr>
            <a:spLocks noGrp="1"/>
          </p:cNvSpPr>
          <p:nvPr>
            <p:ph type="tbl" idx="1"/>
          </p:nvPr>
        </p:nvSpPr>
        <p:spPr>
          <a:xfrm>
            <a:off x="261816" y="914400"/>
            <a:ext cx="11642970" cy="5081588"/>
          </a:xfrm>
        </p:spPr>
        <p:txBody>
          <a:bodyPr/>
          <a:lstStyle/>
          <a:p>
            <a:pPr lvl="0"/>
            <a:endParaRPr lang="pt-BR" noProof="0"/>
          </a:p>
        </p:txBody>
      </p:sp>
    </p:spTree>
    <p:extLst>
      <p:ext uri="{BB962C8B-B14F-4D97-AF65-F5344CB8AC3E}">
        <p14:creationId xmlns:p14="http://schemas.microsoft.com/office/powerpoint/2010/main" val="423568607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599" y="0"/>
            <a:ext cx="10865498" cy="692696"/>
          </a:xfrm>
          <a:prstGeom prst="rect">
            <a:avLst/>
          </a:prstGeom>
        </p:spPr>
        <p:txBody>
          <a:bodyPr/>
          <a:lstStyle/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509432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pt-BR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  <a:endParaRPr lang="pt-BR"/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37FEDF42-9D6C-4529-A07A-32A4D64B2F65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DDEAA50F-243D-4E1C-8337-964E2272FFA6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1832E832-C547-4F2F-B2F9-668C86F69108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84D71E3-71E4-49FF-87D7-8F9E56E2870F}" type="slidenum">
              <a:rPr lang="pt-BR" altLang="pt-BR"/>
              <a:pPr/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2097765060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t-B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BR"/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0B87E91C-E4F0-46B9-B28C-78862CBB09D6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A9358729-6CF1-45D0-88A6-07E9F293F763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710A1A3C-6420-40DD-88D7-2B7DFF4AAF30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B638982-3584-4E58-AC77-2C56DE547ADB}" type="slidenum">
              <a:rPr lang="pt-BR" altLang="pt-BR"/>
              <a:pPr/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1059429383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pt-B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15670F17-85C2-46DC-9FC7-BAC34D696B07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AA29B5CF-F221-43C1-9F92-89078A5007B4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CC309ED8-1553-44D9-B493-8D1CB98504BC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34E84C2-2DCA-4E99-9831-AF9E6CC9ABE6}" type="slidenum">
              <a:rPr lang="pt-BR" altLang="pt-BR"/>
              <a:pPr/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1636057728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8C6293B-3183-4EAC-80F8-54E3776709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0D9FCA1F-890D-4861-9F9D-41EFBCBA74A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4ABE9B60-60C2-42BC-ACBE-6FE382BD41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ECECB6-DCA8-44B7-BF17-6EDCBF7F38A1}" type="datetimeFigureOut">
              <a:rPr lang="en-US" smtClean="0"/>
              <a:t>9/29/2022</a:t>
            </a:fld>
            <a:endParaRPr lang="en-US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EDF5A7CB-E1BC-4BE6-90A6-01DCF964FB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A84511A2-E505-4586-9F9C-284A5632FC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502B16-518D-41CC-8091-2F66D1D00E9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826283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t-BR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775884" y="1600200"/>
            <a:ext cx="4986867" cy="50688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B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965951" y="1600200"/>
            <a:ext cx="4986867" cy="50688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BR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2E473DB-4589-471E-8C17-8B887064F5F1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FA58627-2FDB-4E1B-B93D-C5CBDE147117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D4E0C5C-1644-42E2-B872-E9C15297CE7A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0F68B40-FA10-4DF8-8CCD-7B30ED8F842E}" type="slidenum">
              <a:rPr lang="pt-BR" altLang="pt-BR"/>
              <a:pPr/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3316185629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pt-B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BR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BR"/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6677EE10-7D4E-47B3-9A2E-BFAB636BEF46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F9017CBC-3AD6-4E97-AFF0-4F97A568640C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18B8666A-384E-47CB-BA82-E44B654206E0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87940C1-C31E-4817-9B40-8719314320EC}" type="slidenum">
              <a:rPr lang="pt-BR" altLang="pt-BR"/>
              <a:pPr/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2145992203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t-BR"/>
          </a:p>
        </p:txBody>
      </p:sp>
      <p:sp>
        <p:nvSpPr>
          <p:cNvPr id="3" name="Rectangle 4">
            <a:extLst>
              <a:ext uri="{FF2B5EF4-FFF2-40B4-BE49-F238E27FC236}">
                <a16:creationId xmlns:a16="http://schemas.microsoft.com/office/drawing/2014/main" id="{5595C911-54EF-4665-8C09-CC2EE513E037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4" name="Rectangle 5">
            <a:extLst>
              <a:ext uri="{FF2B5EF4-FFF2-40B4-BE49-F238E27FC236}">
                <a16:creationId xmlns:a16="http://schemas.microsoft.com/office/drawing/2014/main" id="{2313054A-309F-4472-AA5A-92788195991A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Rectangle 6">
            <a:extLst>
              <a:ext uri="{FF2B5EF4-FFF2-40B4-BE49-F238E27FC236}">
                <a16:creationId xmlns:a16="http://schemas.microsoft.com/office/drawing/2014/main" id="{782EB9A7-B05A-4DC8-A20D-69B894C94B9C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E7B2EDE-0595-4166-A438-0500378F4472}" type="slidenum">
              <a:rPr lang="pt-BR" altLang="pt-BR"/>
              <a:pPr/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734616683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>
            <a:extLst>
              <a:ext uri="{FF2B5EF4-FFF2-40B4-BE49-F238E27FC236}">
                <a16:creationId xmlns:a16="http://schemas.microsoft.com/office/drawing/2014/main" id="{08C60C78-85D6-4842-9AA4-6995894DCFB8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3" name="Rectangle 5">
            <a:extLst>
              <a:ext uri="{FF2B5EF4-FFF2-40B4-BE49-F238E27FC236}">
                <a16:creationId xmlns:a16="http://schemas.microsoft.com/office/drawing/2014/main" id="{4CC287C2-EADA-41BA-A660-7E8D3316C7FE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4" name="Rectangle 6">
            <a:extLst>
              <a:ext uri="{FF2B5EF4-FFF2-40B4-BE49-F238E27FC236}">
                <a16:creationId xmlns:a16="http://schemas.microsoft.com/office/drawing/2014/main" id="{FEA66EB9-E780-418D-BE83-5FF64F39D186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4016D18-8E86-4DDD-9482-E883B2B21A83}" type="slidenum">
              <a:rPr lang="pt-BR" altLang="pt-BR"/>
              <a:pPr/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4215215036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pt-B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B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9D55C06-FFCD-4A3E-949E-1A117EA98D3E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81DBDF9-6C1D-4B29-963B-924E14501373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6F8B04C-AEAA-4667-930B-1D780BA0CEB6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919CCA0-6F23-4846-9334-1560B23C602F}" type="slidenum">
              <a:rPr lang="pt-BR" altLang="pt-BR"/>
              <a:pPr/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3374662757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pt-B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t-BR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A571871-7257-423D-B395-734B53C1B424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1002483-DAE6-443D-A781-E5C83994D328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A98A2E1-F3EC-4582-A532-95E281B11D2E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B56EB8E-939C-4359-9303-359DAECA4922}" type="slidenum">
              <a:rPr lang="pt-BR" altLang="pt-BR"/>
              <a:pPr/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70782745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t-B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BR"/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D18987AA-2E84-4D9C-BD8F-856E7BBFF06A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5CFB42EE-F42B-45CC-B5DD-A10867890D51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73BB5CAD-6EF5-4CFC-9309-8BCC84759F4C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9415763-0EE7-4392-BE2D-724CF296193E}" type="slidenum">
              <a:rPr lang="pt-BR" altLang="pt-BR"/>
              <a:pPr/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4185777837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480551" y="44450"/>
            <a:ext cx="2567516" cy="66246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pt-B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775884" y="44450"/>
            <a:ext cx="7501467" cy="66246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BR"/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6E6509FE-62F4-42E8-8755-870DFCD700ED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4AF1D796-B216-46B0-B2D9-7D6CDD0F7060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02FEF9E9-9E0C-4635-9274-95E4419D9E6C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5D79F85-1207-493A-9556-F65593825B3C}" type="slidenum">
              <a:rPr lang="pt-BR" altLang="pt-BR"/>
              <a:pPr/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3811366791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ítulo, conteúdo e 2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9F3932F-24A4-48C5-9D3E-6F8D7E96BE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000" y="44450"/>
            <a:ext cx="9889067" cy="1143000"/>
          </a:xfrm>
        </p:spPr>
        <p:txBody>
          <a:bodyPr/>
          <a:lstStyle/>
          <a:p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7573EFEF-B060-4E82-A925-9F5EAB7CBE8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775884" y="1600200"/>
            <a:ext cx="4986867" cy="506888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9C31BE78-F6BA-4F17-ABD5-D1AF3880768E}"/>
              </a:ext>
            </a:extLst>
          </p:cNvPr>
          <p:cNvSpPr>
            <a:spLocks noGrp="1"/>
          </p:cNvSpPr>
          <p:nvPr>
            <p:ph sz="quarter" idx="2"/>
          </p:nvPr>
        </p:nvSpPr>
        <p:spPr>
          <a:xfrm>
            <a:off x="6965951" y="1600200"/>
            <a:ext cx="4986867" cy="2457450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5" name="Espaço Reservado para Conteúdo 4">
            <a:extLst>
              <a:ext uri="{FF2B5EF4-FFF2-40B4-BE49-F238E27FC236}">
                <a16:creationId xmlns:a16="http://schemas.microsoft.com/office/drawing/2014/main" id="{7F4F3C90-EDFF-42D8-8654-D10E0A8F4BDB}"/>
              </a:ext>
            </a:extLst>
          </p:cNvPr>
          <p:cNvSpPr>
            <a:spLocks noGrp="1"/>
          </p:cNvSpPr>
          <p:nvPr>
            <p:ph sz="quarter" idx="3"/>
          </p:nvPr>
        </p:nvSpPr>
        <p:spPr>
          <a:xfrm>
            <a:off x="6965951" y="4210050"/>
            <a:ext cx="4986867" cy="245903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6" name="Espaço Reservado para Data 5">
            <a:extLst>
              <a:ext uri="{FF2B5EF4-FFF2-40B4-BE49-F238E27FC236}">
                <a16:creationId xmlns:a16="http://schemas.microsoft.com/office/drawing/2014/main" id="{F187A9F3-4571-485C-B1D7-59E9B6E6807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7" name="Espaço Reservado para Rodapé 6">
            <a:extLst>
              <a:ext uri="{FF2B5EF4-FFF2-40B4-BE49-F238E27FC236}">
                <a16:creationId xmlns:a16="http://schemas.microsoft.com/office/drawing/2014/main" id="{3B7405EA-AAC3-40E1-81B9-1EF9F63275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65600" y="6245225"/>
            <a:ext cx="38608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8" name="Espaço Reservado para Número de Slide 7">
            <a:extLst>
              <a:ext uri="{FF2B5EF4-FFF2-40B4-BE49-F238E27FC236}">
                <a16:creationId xmlns:a16="http://schemas.microsoft.com/office/drawing/2014/main" id="{F4A4E580-151E-4D0F-A3CB-DD7925B1F6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245225"/>
            <a:ext cx="2844800" cy="476250"/>
          </a:xfrm>
        </p:spPr>
        <p:txBody>
          <a:bodyPr/>
          <a:lstStyle>
            <a:lvl1pPr>
              <a:defRPr/>
            </a:lvl1pPr>
          </a:lstStyle>
          <a:p>
            <a:fld id="{8A813EDE-0B1C-4464-830B-944BBB301A1F}" type="slidenum">
              <a:rPr lang="pt-BR" altLang="pt-BR"/>
              <a:pPr/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2072713099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onteúdo 1">
            <a:extLst>
              <a:ext uri="{FF2B5EF4-FFF2-40B4-BE49-F238E27FC236}">
                <a16:creationId xmlns:a16="http://schemas.microsoft.com/office/drawing/2014/main" id="{AE167CBF-7FBF-428B-AF18-7EF1C3C3C6B3}"/>
              </a:ext>
            </a:extLst>
          </p:cNvPr>
          <p:cNvSpPr>
            <a:spLocks noGrp="1"/>
          </p:cNvSpPr>
          <p:nvPr>
            <p:ph/>
          </p:nvPr>
        </p:nvSpPr>
        <p:spPr>
          <a:xfrm>
            <a:off x="1775885" y="44450"/>
            <a:ext cx="10272183" cy="662463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00C6E5FC-FF7A-4108-9D46-41A414A8FF5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A74EA0F1-CDA2-423F-B9C6-344AE59D0D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65600" y="6245225"/>
            <a:ext cx="38608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A9AEAF73-12EB-4EF1-ABF7-598426041D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245225"/>
            <a:ext cx="2844800" cy="476250"/>
          </a:xfrm>
        </p:spPr>
        <p:txBody>
          <a:bodyPr/>
          <a:lstStyle>
            <a:lvl1pPr>
              <a:defRPr/>
            </a:lvl1pPr>
          </a:lstStyle>
          <a:p>
            <a:fld id="{A090C36A-911F-42DF-A0DC-19511EDBCDBB}" type="slidenum">
              <a:rPr lang="pt-BR" altLang="pt-BR"/>
              <a:pPr/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3659020517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6E18A6E-A9D4-446B-9F7A-1E2B726CE6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2F830440-6123-4BB9-BDE8-7115F331934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EED1A785-074B-4C61-9C8C-5032F787F64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89E41FF8-4FD7-4ED4-8AAD-6C665E4BD2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ECECB6-DCA8-44B7-BF17-6EDCBF7F38A1}" type="datetimeFigureOut">
              <a:rPr lang="en-US" smtClean="0"/>
              <a:t>9/29/2022</a:t>
            </a:fld>
            <a:endParaRPr lang="en-US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B351E5E6-D4AE-4ABC-B76A-38B2C6C2E9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422403F8-567E-4CAB-8232-E0A527222F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502B16-518D-41CC-8091-2F66D1D00E9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791997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rgbClr val="FF610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Graphic 15">
            <a:extLst>
              <a:ext uri="{FF2B5EF4-FFF2-40B4-BE49-F238E27FC236}">
                <a16:creationId xmlns:a16="http://schemas.microsoft.com/office/drawing/2014/main" id="{B84F71F4-F152-6D19-969C-A9EA14A982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b="36724"/>
          <a:stretch/>
        </p:blipFill>
        <p:spPr>
          <a:xfrm>
            <a:off x="7417327" y="1372140"/>
            <a:ext cx="4897582" cy="3098976"/>
          </a:xfrm>
          <a:prstGeom prst="rect">
            <a:avLst/>
          </a:prstGeom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F0A88187-9061-840F-F675-00CF2A9225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63734"/>
          <a:stretch/>
        </p:blipFill>
        <p:spPr>
          <a:xfrm>
            <a:off x="7285710" y="4309116"/>
            <a:ext cx="4897582" cy="177613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B62CDFD-7AD0-45EA-97C0-C60D447B3AD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3583" y="2373411"/>
            <a:ext cx="6480563" cy="747575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bg1"/>
                </a:solidFill>
                <a:latin typeface="Agrandir Bold" panose="00000800000000000000" pitchFamily="2" charset="0"/>
              </a:defRPr>
            </a:lvl1pPr>
          </a:lstStyle>
          <a:p>
            <a:r>
              <a:rPr lang="es-AR" dirty="0" err="1"/>
              <a:t>Title</a:t>
            </a:r>
            <a:r>
              <a:rPr lang="es-AR" dirty="0"/>
              <a:t> </a:t>
            </a:r>
            <a:r>
              <a:rPr lang="es-AR" dirty="0" err="1"/>
              <a:t>Title</a:t>
            </a:r>
            <a:r>
              <a:rPr lang="es-AR" dirty="0"/>
              <a:t> </a:t>
            </a:r>
            <a:r>
              <a:rPr lang="es-AR" dirty="0" err="1"/>
              <a:t>Tit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BA2B6E1-2D17-4342-B64C-C045CE445EE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63584" y="3120986"/>
            <a:ext cx="6480562" cy="1096720"/>
          </a:xfrm>
        </p:spPr>
        <p:txBody>
          <a:bodyPr/>
          <a:lstStyle>
            <a:lvl1pPr marL="0" indent="0" algn="l">
              <a:buNone/>
              <a:defRPr sz="2400">
                <a:solidFill>
                  <a:srgbClr val="FFBC9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9D48E91-B44C-4D26-BA85-03DD1A60F71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6016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CFA604D-6E92-4582-8B50-2CD0E49B2982}" type="datetimeFigureOut">
              <a:rPr lang="en-US" smtClean="0"/>
              <a:pPr/>
              <a:t>9/29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C305C9A-DEBD-47CF-913F-944876735F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80399" y="6374044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918E47A-D041-487D-B0B3-53125E50D6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72239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CBEDC8D-072A-4669-B57B-D7263F03E54D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2236679-AF36-47D3-B416-8291D2D9EA84}"/>
              </a:ext>
            </a:extLst>
          </p:cNvPr>
          <p:cNvSpPr txBox="1"/>
          <p:nvPr userDrawn="1"/>
        </p:nvSpPr>
        <p:spPr>
          <a:xfrm>
            <a:off x="460160" y="4749087"/>
            <a:ext cx="2050561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AR" sz="2000" b="1" dirty="0">
                <a:solidFill>
                  <a:schemeClr val="bg1"/>
                </a:solidFill>
                <a:latin typeface="Agrandir" panose="00000500000000000000" pitchFamily="50" charset="0"/>
              </a:rPr>
              <a:t>Speaker </a:t>
            </a:r>
            <a:r>
              <a:rPr lang="es-AR" sz="2000" b="1" dirty="0" err="1">
                <a:solidFill>
                  <a:schemeClr val="bg1"/>
                </a:solidFill>
                <a:latin typeface="Agrandir" panose="00000500000000000000" pitchFamily="50" charset="0"/>
              </a:rPr>
              <a:t>Name</a:t>
            </a:r>
            <a:endParaRPr lang="es-AR" sz="2000" b="1" dirty="0">
              <a:solidFill>
                <a:schemeClr val="bg1"/>
              </a:solidFill>
              <a:latin typeface="Agrandir" panose="00000500000000000000" pitchFamily="50" charset="0"/>
            </a:endParaRPr>
          </a:p>
          <a:p>
            <a:r>
              <a:rPr lang="es-AR" sz="2000" dirty="0" err="1">
                <a:solidFill>
                  <a:schemeClr val="bg1"/>
                </a:solidFill>
                <a:latin typeface="Agrandir" panose="00000500000000000000" pitchFamily="50" charset="0"/>
              </a:rPr>
              <a:t>Organization</a:t>
            </a:r>
            <a:endParaRPr lang="es-AR" sz="2000" dirty="0">
              <a:solidFill>
                <a:schemeClr val="bg1"/>
              </a:solidFill>
              <a:latin typeface="Agrandir" panose="00000500000000000000" pitchFamily="50" charset="0"/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55348F05-B612-4CA7-84BC-7F688BA93C1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63582" y="274629"/>
            <a:ext cx="5497287" cy="805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726300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raphic 16">
            <a:extLst>
              <a:ext uri="{FF2B5EF4-FFF2-40B4-BE49-F238E27FC236}">
                <a16:creationId xmlns:a16="http://schemas.microsoft.com/office/drawing/2014/main" id="{60D2F256-31F6-8866-9464-F8B4F746A32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501870" y="681038"/>
            <a:ext cx="3184440" cy="549592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EEA36E2-75B2-4D96-A45D-D22218E349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10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B73BEA5-386C-4021-929A-FBB86A24D17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6" name="Picture 15" descr="Graphical user interface&#10;&#10;Description automatically generated">
            <a:extLst>
              <a:ext uri="{FF2B5EF4-FFF2-40B4-BE49-F238E27FC236}">
                <a16:creationId xmlns:a16="http://schemas.microsoft.com/office/drawing/2014/main" id="{EF092041-0F11-48D7-BF57-E24DDEA555A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9363" y="6265816"/>
            <a:ext cx="2181452" cy="468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261452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37BCCFCC-96E7-28C3-EC8B-AFA8ABE8D1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501870" y="681038"/>
            <a:ext cx="3184440" cy="549592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D0AA6C2-537F-4D06-AAD9-9F6BAE8672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3232" y="768350"/>
            <a:ext cx="6908223" cy="2852737"/>
          </a:xfrm>
        </p:spPr>
        <p:txBody>
          <a:bodyPr anchor="b"/>
          <a:lstStyle>
            <a:lvl1pPr>
              <a:defRPr sz="6000">
                <a:solidFill>
                  <a:srgbClr val="FF610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FFA95EB-E7E3-4DCC-B366-A44B859FCE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73232" y="3647786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 descr="Graphical user interface&#10;&#10;Description automatically generated">
            <a:extLst>
              <a:ext uri="{FF2B5EF4-FFF2-40B4-BE49-F238E27FC236}">
                <a16:creationId xmlns:a16="http://schemas.microsoft.com/office/drawing/2014/main" id="{79CE520F-9F63-4583-AE18-710F7AA358A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9363" y="6265816"/>
            <a:ext cx="2181452" cy="468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966839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Graphic 18">
            <a:extLst>
              <a:ext uri="{FF2B5EF4-FFF2-40B4-BE49-F238E27FC236}">
                <a16:creationId xmlns:a16="http://schemas.microsoft.com/office/drawing/2014/main" id="{68D6C2C4-AF8E-27E4-4CA1-60B71008C7A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76156" y="5685819"/>
            <a:ext cx="1048326" cy="1048326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4546C352-44A4-E082-EA1C-7FAD2FFAF8F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997915" y="230909"/>
            <a:ext cx="3718526" cy="638694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18E554E-712E-4502-8949-346EBC32F4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10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439B05D-3579-4812-8374-7E67E67FDD9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4B85F4F-E816-4250-874B-5EBD9F3F84A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 descr="Graphical user interface&#10;&#10;Description automatically generated">
            <a:extLst>
              <a:ext uri="{FF2B5EF4-FFF2-40B4-BE49-F238E27FC236}">
                <a16:creationId xmlns:a16="http://schemas.microsoft.com/office/drawing/2014/main" id="{F0BA0DFB-EA03-484C-94BC-ADC44AEAD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9363" y="6265816"/>
            <a:ext cx="2181452" cy="468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521439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A6FFDEFB-9C01-1790-5E81-C59F953252D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76156" y="5685819"/>
            <a:ext cx="1048326" cy="1048326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11E3C369-B868-3889-939C-19D47F35195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997915" y="230909"/>
            <a:ext cx="3718526" cy="638694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C61789C-A31D-479F-B28D-0127A37AE7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>
            <a:lvl1pPr>
              <a:defRPr>
                <a:solidFill>
                  <a:srgbClr val="FF610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22D0A67-A298-4B17-B862-E52996C2A88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B912077-6E13-4D31-A659-A4143533619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97CCBEC-DF41-498A-B0F3-4B9737B08B4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7FA9CCF-1160-49DF-B41A-4C479801101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 descr="Graphical user interface&#10;&#10;Description automatically generated">
            <a:extLst>
              <a:ext uri="{FF2B5EF4-FFF2-40B4-BE49-F238E27FC236}">
                <a16:creationId xmlns:a16="http://schemas.microsoft.com/office/drawing/2014/main" id="{3C0F4CC3-9D86-4E0A-ACEF-4DEAE623A2B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9363" y="6265816"/>
            <a:ext cx="2181452" cy="468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407386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D0733F-42A9-4EAB-A840-E651C3B3E1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10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6" name="Picture 5" descr="Graphical user interface&#10;&#10;Description automatically generated">
            <a:extLst>
              <a:ext uri="{FF2B5EF4-FFF2-40B4-BE49-F238E27FC236}">
                <a16:creationId xmlns:a16="http://schemas.microsoft.com/office/drawing/2014/main" id="{287753BE-2586-4F11-9F5A-77F7E05EC96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9363" y="6265816"/>
            <a:ext cx="2181452" cy="468329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F64F22FE-8028-EBBB-3146-93C599220AF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997915" y="230909"/>
            <a:ext cx="3718526" cy="6386946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32FE7750-E97C-CEED-0933-3AA35AAFD78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876156" y="5685819"/>
            <a:ext cx="1048326" cy="1048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715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Graphical user interface&#10;&#10;Description automatically generated">
            <a:extLst>
              <a:ext uri="{FF2B5EF4-FFF2-40B4-BE49-F238E27FC236}">
                <a16:creationId xmlns:a16="http://schemas.microsoft.com/office/drawing/2014/main" id="{30F8F06B-DF12-4998-B1E1-55DDCAF73C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9363" y="6265816"/>
            <a:ext cx="2181452" cy="468329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5504367D-9C22-C1FA-E1BD-C1AB6755413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997915" y="230909"/>
            <a:ext cx="3718526" cy="6386946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2DB6B96F-DD16-B4A1-03F6-85F2343B1B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876156" y="5685819"/>
            <a:ext cx="1048326" cy="1048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03313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947E743F-B76B-38E9-606B-180AB41897F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76156" y="5685819"/>
            <a:ext cx="1048326" cy="104832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7937E99-FA42-4F76-A84A-A5221395AF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>
                <a:solidFill>
                  <a:srgbClr val="FF610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6B57C28-7438-4ADE-AC48-17DA0ACBE8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2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6220DC5-2ED3-499C-AFDF-3A24982D779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 descr="Graphical user interface&#10;&#10;Description automatically generated">
            <a:extLst>
              <a:ext uri="{FF2B5EF4-FFF2-40B4-BE49-F238E27FC236}">
                <a16:creationId xmlns:a16="http://schemas.microsoft.com/office/drawing/2014/main" id="{E6D926BD-6FE3-4010-AB9A-B30E56B1BF0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9363" y="6265816"/>
            <a:ext cx="2181452" cy="468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330909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38F0F72B-0C17-0718-6335-1BD0CA81A85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76156" y="5685819"/>
            <a:ext cx="1048326" cy="104832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D06FB9C-9FA6-4596-BC7F-DD11E5573A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>
                <a:solidFill>
                  <a:srgbClr val="FF610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C708CC8-81DD-432A-9193-9EB1EA2B50B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EBFB9BD-5B3C-41E5-882E-20D75545CE7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 descr="Graphical user interface&#10;&#10;Description automatically generated">
            <a:extLst>
              <a:ext uri="{FF2B5EF4-FFF2-40B4-BE49-F238E27FC236}">
                <a16:creationId xmlns:a16="http://schemas.microsoft.com/office/drawing/2014/main" id="{12FD7376-B040-4C1A-BE7C-1E3BC036E74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9363" y="6265816"/>
            <a:ext cx="2181452" cy="468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107231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E12006CE-36EE-9FE6-220D-77BCAC2D106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76156" y="5685819"/>
            <a:ext cx="1048326" cy="104832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4CCE548-188C-4CDD-9057-95C63F0819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10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43EF981-EB9D-4007-A9CA-95DBD2D8C33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 descr="Graphical user interface&#10;&#10;Description automatically generated">
            <a:extLst>
              <a:ext uri="{FF2B5EF4-FFF2-40B4-BE49-F238E27FC236}">
                <a16:creationId xmlns:a16="http://schemas.microsoft.com/office/drawing/2014/main" id="{9F6FA1C5-429B-46D6-B0E8-3EB946C9AD4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9363" y="6265816"/>
            <a:ext cx="2181452" cy="468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52999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23C2C9D-9D52-445F-8377-3F1011518D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72E0B3F7-397E-4BD6-85EE-35D496303F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E8AD1BCD-E8A1-4CB7-B213-3B43720B676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2FD324FA-6C48-42C3-AA66-059A23FAC88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5DD226CE-8EE7-4F9B-9985-0A703FE3CEA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63524290-5685-42D9-A979-B8EAE9D71F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ECECB6-DCA8-44B7-BF17-6EDCBF7F38A1}" type="datetimeFigureOut">
              <a:rPr lang="en-US" smtClean="0"/>
              <a:t>9/29/2022</a:t>
            </a:fld>
            <a:endParaRPr lang="en-US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DD327468-0055-4A9A-B700-F279B40E08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135A9C2B-6112-421A-8EED-F001A2DE18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502B16-518D-41CC-8091-2F66D1D00E9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31143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5B31283-A7D9-423B-901B-8B2949F6BA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95B1A77A-988F-439E-8C05-0B2A91CA00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ECECB6-DCA8-44B7-BF17-6EDCBF7F38A1}" type="datetimeFigureOut">
              <a:rPr lang="en-US" smtClean="0"/>
              <a:t>9/29/2022</a:t>
            </a:fld>
            <a:endParaRPr lang="en-US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3F2DAF33-DACF-4428-A32B-FC8ABF701A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4271565C-B053-4DEE-AE28-DBD024A204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502B16-518D-41CC-8091-2F66D1D00E9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99321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B31FFF7E-2F2C-494B-B44F-03C6FD8F48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ECECB6-DCA8-44B7-BF17-6EDCBF7F38A1}" type="datetimeFigureOut">
              <a:rPr lang="en-US" smtClean="0"/>
              <a:t>9/29/2022</a:t>
            </a:fld>
            <a:endParaRPr lang="en-US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93D90820-30FA-4B6D-8AE3-35BB52BCE7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3F34877F-6E75-48E9-BF8F-5BEB77F95F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502B16-518D-41CC-8091-2F66D1D00E9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199843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0FBEA92-6B06-48F8-925A-2EE1753F57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98777E9D-B6DC-42C0-8984-2E70AB5AE67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BD9FA13F-B35D-4DCC-832B-049A455F5D2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5CEA21E4-2F17-480E-AC89-ED7DFD7765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ECECB6-DCA8-44B7-BF17-6EDCBF7F38A1}" type="datetimeFigureOut">
              <a:rPr lang="en-US" smtClean="0"/>
              <a:t>9/29/2022</a:t>
            </a:fld>
            <a:endParaRPr lang="en-US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2841B9F9-AAC8-4400-A917-A240A489DF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D59B649E-A9F5-4B91-B5CC-172367E9D7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502B16-518D-41CC-8091-2F66D1D00E9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66604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D2510C7-69CC-437F-87EB-5AA3DDB6FC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CCC9DC7D-3AE8-451D-B755-CF0713599EF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A63BAA94-CF31-4A97-A8A4-94EB7472AFE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A9A44C4B-0296-4B5B-A604-749E58A573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ECECB6-DCA8-44B7-BF17-6EDCBF7F38A1}" type="datetimeFigureOut">
              <a:rPr lang="en-US" smtClean="0"/>
              <a:t>9/29/2022</a:t>
            </a:fld>
            <a:endParaRPr lang="en-US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59295BCD-10DF-4B47-BFB5-FF93E14F85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EFE73E61-401B-4E78-B4E8-CA34E66E0D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502B16-518D-41CC-8091-2F66D1D00E9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79648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image" Target="../media/image4.jpeg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image" Target="../media/image3.emf"/><Relationship Id="rId2" Type="http://schemas.openxmlformats.org/officeDocument/2006/relationships/slideLayout" Target="../slideLayouts/slideLayout15.xml"/><Relationship Id="rId16" Type="http://schemas.openxmlformats.org/officeDocument/2006/relationships/oleObject" Target="../embeddings/oleObject1.bin"/><Relationship Id="rId20" Type="http://schemas.openxmlformats.org/officeDocument/2006/relationships/image" Target="../media/image6.png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23.xml"/><Relationship Id="rId19" Type="http://schemas.openxmlformats.org/officeDocument/2006/relationships/image" Target="../media/image5.emf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5" Type="http://schemas.openxmlformats.org/officeDocument/2006/relationships/image" Target="../media/image7.jpeg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3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6.xml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49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8CD76EA0-CCAB-4D5B-B990-7B3337641B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1A1D8F78-C6FC-4617-A8CD-C723CC4AFB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A4801420-1E8A-44F5-ABCD-E19A0A9004A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6ECECB6-DCA8-44B7-BF17-6EDCBF7F38A1}" type="datetimeFigureOut">
              <a:rPr lang="en-US" smtClean="0"/>
              <a:t>9/29/2022</a:t>
            </a:fld>
            <a:endParaRPr lang="en-US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830A3CCE-0707-4564-A247-F4F98A5D5E3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F10991E3-792E-4589-9C8A-4A8CD5E9049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C502B16-518D-41CC-8091-2F66D1D00E9B}" type="slidenum">
              <a:rPr lang="en-US" smtClean="0"/>
              <a:t>‹nº›</a:t>
            </a:fld>
            <a:endParaRPr lang="en-US"/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7F766A6D-14AE-47E2-8191-6ABE93D189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6068"/>
          <a:stretch/>
        </p:blipFill>
        <p:spPr>
          <a:xfrm>
            <a:off x="0" y="5904679"/>
            <a:ext cx="12192000" cy="955450"/>
          </a:xfrm>
          <a:prstGeom prst="rect">
            <a:avLst/>
          </a:prstGeom>
        </p:spPr>
      </p:pic>
      <p:pic>
        <p:nvPicPr>
          <p:cNvPr id="8" name="Imagem 7">
            <a:extLst>
              <a:ext uri="{FF2B5EF4-FFF2-40B4-BE49-F238E27FC236}">
                <a16:creationId xmlns:a16="http://schemas.microsoft.com/office/drawing/2014/main" id="{9A22AF0B-765A-47B4-B733-BD1EF82FB93B}"/>
              </a:ext>
            </a:extLst>
          </p:cNvPr>
          <p:cNvPicPr>
            <a:picLocks noChangeAspect="1"/>
          </p:cNvPicPr>
          <p:nvPr userDrawn="1"/>
        </p:nvPicPr>
        <p:blipFill>
          <a:blip r:embed="rId16"/>
          <a:stretch>
            <a:fillRect/>
          </a:stretch>
        </p:blipFill>
        <p:spPr>
          <a:xfrm>
            <a:off x="494014" y="6413135"/>
            <a:ext cx="2092207" cy="450000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166784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728" r:id="rId12"/>
    <p:sldLayoutId id="2147483729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237" name="Object 141"/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4237" name="Object 14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239" name="Picture 4"/>
          <p:cNvPicPr>
            <a:picLocks noChangeAspect="1"/>
          </p:cNvPicPr>
          <p:nvPr/>
        </p:nvPicPr>
        <p:blipFill>
          <a:blip r:embed="rId18"/>
          <a:srcRect l="86234"/>
          <a:stretch>
            <a:fillRect/>
          </a:stretch>
        </p:blipFill>
        <p:spPr bwMode="auto">
          <a:xfrm>
            <a:off x="0" y="695325"/>
            <a:ext cx="1500554" cy="5157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240" name="Picture 5"/>
          <p:cNvPicPr>
            <a:picLocks noChangeAspect="1"/>
          </p:cNvPicPr>
          <p:nvPr/>
        </p:nvPicPr>
        <p:blipFill>
          <a:blip r:embed="rId19"/>
          <a:srcRect/>
          <a:stretch>
            <a:fillRect/>
          </a:stretch>
        </p:blipFill>
        <p:spPr bwMode="auto">
          <a:xfrm>
            <a:off x="10310447" y="84138"/>
            <a:ext cx="1795584" cy="26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241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61816" y="914400"/>
            <a:ext cx="11642970" cy="508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2" name="Text Box 3"/>
          <p:cNvSpPr txBox="1">
            <a:spLocks noChangeArrowheads="1"/>
          </p:cNvSpPr>
          <p:nvPr/>
        </p:nvSpPr>
        <p:spPr bwMode="auto">
          <a:xfrm>
            <a:off x="68386" y="50801"/>
            <a:ext cx="10310446" cy="519113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defTabSz="457200" eaLnBrk="0" hangingPunct="0">
              <a:defRPr sz="1000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1pPr>
            <a:lvl2pPr marL="742950" indent="-285750" defTabSz="457200" eaLnBrk="0" hangingPunct="0">
              <a:defRPr sz="1000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2pPr>
            <a:lvl3pPr marL="1143000" indent="-228600" defTabSz="457200" eaLnBrk="0" hangingPunct="0">
              <a:defRPr sz="1000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3pPr>
            <a:lvl4pPr marL="1600200" indent="-228600" defTabSz="457200" eaLnBrk="0" hangingPunct="0">
              <a:defRPr sz="1000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4pPr>
            <a:lvl5pPr marL="2057400" indent="-228600" defTabSz="457200" eaLnBrk="0" hangingPunct="0">
              <a:defRPr sz="1000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5pPr>
            <a:lvl6pPr marL="25146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6pPr>
            <a:lvl7pPr marL="29718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7pPr>
            <a:lvl8pPr marL="34290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8pPr>
            <a:lvl9pPr marL="38862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9pPr>
          </a:lstStyle>
          <a:p>
            <a:pPr>
              <a:defRPr/>
            </a:pPr>
            <a:endParaRPr lang="en-US" sz="2400" b="1" dirty="0">
              <a:solidFill>
                <a:srgbClr val="1F497D"/>
              </a:solidFill>
              <a:ea typeface="ＭＳ Ｐゴシック" pitchFamily="34" charset="-128"/>
            </a:endParaRPr>
          </a:p>
        </p:txBody>
      </p:sp>
      <p:sp>
        <p:nvSpPr>
          <p:cNvPr id="4103" name="Line 5"/>
          <p:cNvSpPr>
            <a:spLocks noChangeShapeType="1"/>
          </p:cNvSpPr>
          <p:nvPr/>
        </p:nvSpPr>
        <p:spPr bwMode="auto">
          <a:xfrm>
            <a:off x="121138" y="692150"/>
            <a:ext cx="11951678" cy="0"/>
          </a:xfrm>
          <a:prstGeom prst="line">
            <a:avLst/>
          </a:prstGeom>
          <a:noFill/>
          <a:ln w="28575">
            <a:solidFill>
              <a:srgbClr val="1F497D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pt-BR" sz="1800" dirty="0">
              <a:latin typeface="Arial Narrow" pitchFamily="34" charset="0"/>
              <a:cs typeface="Arial" pitchFamily="34" charset="0"/>
            </a:endParaRPr>
          </a:p>
        </p:txBody>
      </p:sp>
      <p:pic>
        <p:nvPicPr>
          <p:cNvPr id="4244" name="Picture 2" descr="V:\COMUNICACAO\RESERVADA\PUBLICACAO\Palestras\Níveis de proteção\NP-3.png"/>
          <p:cNvPicPr>
            <a:picLocks noChangeAspect="1" noChangeArrowheads="1"/>
          </p:cNvPicPr>
          <p:nvPr userDrawn="1"/>
        </p:nvPicPr>
        <p:blipFill>
          <a:blip r:embed="rId20"/>
          <a:srcRect/>
          <a:stretch>
            <a:fillRect/>
          </a:stretch>
        </p:blipFill>
        <p:spPr bwMode="auto">
          <a:xfrm>
            <a:off x="11455401" y="6308726"/>
            <a:ext cx="746369" cy="595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0741000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</p:sldLayoutIdLst>
  <p:transition>
    <p:wipe dir="r"/>
  </p:transition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 Narrow" pitchFamily="34" charset="0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 Narrow" pitchFamily="34" charset="0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 Narrow" pitchFamily="34" charset="0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 Narrow" pitchFamily="34" charset="0"/>
          <a:cs typeface="Arial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 Narrow" pitchFamily="34" charset="0"/>
          <a:cs typeface="Arial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 Narrow" pitchFamily="34" charset="0"/>
          <a:cs typeface="Arial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 Narrow" pitchFamily="34" charset="0"/>
          <a:cs typeface="Arial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 Narrow" pitchFamily="34" charset="0"/>
          <a:cs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0" descr="OTC_2009_meio">
            <a:extLst>
              <a:ext uri="{FF2B5EF4-FFF2-40B4-BE49-F238E27FC236}">
                <a16:creationId xmlns:a16="http://schemas.microsoft.com/office/drawing/2014/main" id="{FB259E3D-BF29-44B2-8864-82DB4DE040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2">
            <a:extLst>
              <a:ext uri="{FF2B5EF4-FFF2-40B4-BE49-F238E27FC236}">
                <a16:creationId xmlns:a16="http://schemas.microsoft.com/office/drawing/2014/main" id="{DFB0996C-6607-4145-8F90-63C69924F0A1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2159000" y="44450"/>
            <a:ext cx="9889067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35921" dir="2700000" algn="ctr" rotWithShape="0">
              <a:schemeClr val="tx1"/>
            </a:outerShdw>
          </a:effec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que Para Editar O Estilo Do Título Mestre</a:t>
            </a:r>
          </a:p>
        </p:txBody>
      </p:sp>
      <p:sp>
        <p:nvSpPr>
          <p:cNvPr id="1027" name="Rectangle 3">
            <a:extLst>
              <a:ext uri="{FF2B5EF4-FFF2-40B4-BE49-F238E27FC236}">
                <a16:creationId xmlns:a16="http://schemas.microsoft.com/office/drawing/2014/main" id="{A82B069F-4384-4F4D-B2CD-1F9D47FACE64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1775884" y="1600200"/>
            <a:ext cx="10176933" cy="5068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35921" dir="2700000" algn="ctr" rotWithShape="0">
              <a:schemeClr val="tx1"/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que para editar os estilos do texto mestre</a:t>
            </a:r>
          </a:p>
          <a:p>
            <a:pPr lvl="1"/>
            <a:r>
              <a:rPr lang="en-US"/>
              <a:t>Segundo nível</a:t>
            </a:r>
          </a:p>
          <a:p>
            <a:pPr lvl="2"/>
            <a:r>
              <a:rPr lang="en-US"/>
              <a:t>Terceiro nível</a:t>
            </a:r>
          </a:p>
          <a:p>
            <a:pPr lvl="3"/>
            <a:r>
              <a:rPr lang="en-US"/>
              <a:t>Quarto nível</a:t>
            </a:r>
          </a:p>
          <a:p>
            <a:pPr lvl="4"/>
            <a:r>
              <a:rPr lang="en-US"/>
              <a:t>Quinto nível</a:t>
            </a:r>
          </a:p>
        </p:txBody>
      </p:sp>
      <p:sp>
        <p:nvSpPr>
          <p:cNvPr id="1028" name="Rectangle 4">
            <a:extLst>
              <a:ext uri="{FF2B5EF4-FFF2-40B4-BE49-F238E27FC236}">
                <a16:creationId xmlns:a16="http://schemas.microsoft.com/office/drawing/2014/main" id="{56E15822-4925-468C-9CE7-DF6B7C7EFC75}"/>
              </a:ext>
            </a:extLst>
          </p:cNvPr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09600" y="6245225"/>
            <a:ext cx="28448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400">
                <a:latin typeface="+mn-lt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1029" name="Rectangle 5">
            <a:extLst>
              <a:ext uri="{FF2B5EF4-FFF2-40B4-BE49-F238E27FC236}">
                <a16:creationId xmlns:a16="http://schemas.microsoft.com/office/drawing/2014/main" id="{1C928698-ADB6-4650-9F5B-5BEB19C14B7C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65600" y="6245225"/>
            <a:ext cx="38608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400">
                <a:latin typeface="+mn-lt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1030" name="Rectangle 6">
            <a:extLst>
              <a:ext uri="{FF2B5EF4-FFF2-40B4-BE49-F238E27FC236}">
                <a16:creationId xmlns:a16="http://schemas.microsoft.com/office/drawing/2014/main" id="{6348E09A-4671-43D4-8C7F-35577D337FE8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37600" y="6245225"/>
            <a:ext cx="28448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400"/>
            </a:lvl1pPr>
          </a:lstStyle>
          <a:p>
            <a:fld id="{31C2C6DB-7064-465B-9B86-4D2CF1D924AE}" type="slidenum">
              <a:rPr lang="pt-BR" altLang="pt-BR"/>
              <a:pPr/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36214476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  <p:sldLayoutId id="2147483718" r:id="rId5"/>
    <p:sldLayoutId id="2147483719" r:id="rId6"/>
    <p:sldLayoutId id="2147483720" r:id="rId7"/>
    <p:sldLayoutId id="2147483721" r:id="rId8"/>
    <p:sldLayoutId id="2147483722" r:id="rId9"/>
    <p:sldLayoutId id="2147483723" r:id="rId10"/>
    <p:sldLayoutId id="2147483724" r:id="rId11"/>
    <p:sldLayoutId id="2147483725" r:id="rId12"/>
    <p:sldLayoutId id="2147483726" r:id="rId13"/>
  </p:sldLayoutIdLst>
  <p:transition>
    <p:fade/>
  </p:transition>
  <p:txStyles>
    <p:titleStyle>
      <a:lvl1pPr algn="r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FFFF00"/>
          </a:solidFill>
          <a:latin typeface="+mj-lt"/>
          <a:ea typeface="+mj-ea"/>
          <a:cs typeface="+mj-cs"/>
        </a:defRPr>
      </a:lvl1pPr>
      <a:lvl2pPr algn="r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FFFF00"/>
          </a:solidFill>
          <a:latin typeface="Arial" charset="0"/>
        </a:defRPr>
      </a:lvl2pPr>
      <a:lvl3pPr algn="r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FFFF00"/>
          </a:solidFill>
          <a:latin typeface="Arial" charset="0"/>
        </a:defRPr>
      </a:lvl3pPr>
      <a:lvl4pPr algn="r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FFFF00"/>
          </a:solidFill>
          <a:latin typeface="Arial" charset="0"/>
        </a:defRPr>
      </a:lvl4pPr>
      <a:lvl5pPr algn="r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FFFF00"/>
          </a:solidFill>
          <a:latin typeface="Arial" charset="0"/>
        </a:defRPr>
      </a:lvl5pPr>
      <a:lvl6pPr marL="457200" algn="r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FFFF00"/>
          </a:solidFill>
          <a:latin typeface="Arial" charset="0"/>
        </a:defRPr>
      </a:lvl6pPr>
      <a:lvl7pPr marL="914400" algn="r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FFFF00"/>
          </a:solidFill>
          <a:latin typeface="Arial" charset="0"/>
        </a:defRPr>
      </a:lvl7pPr>
      <a:lvl8pPr marL="1371600" algn="r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FFFF00"/>
          </a:solidFill>
          <a:latin typeface="Arial" charset="0"/>
        </a:defRPr>
      </a:lvl8pPr>
      <a:lvl9pPr marL="1828800" algn="r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FFFF00"/>
          </a:solidFill>
          <a:latin typeface="Arial" charset="0"/>
        </a:defRPr>
      </a:lvl9pPr>
    </p:titleStyle>
    <p:bodyStyle>
      <a:lvl1pPr marL="342900" indent="-342900" algn="l" rtl="0" eaLnBrk="0" fontAlgn="base" hangingPunct="0">
        <a:lnSpc>
          <a:spcPct val="90000"/>
        </a:lnSpc>
        <a:spcBef>
          <a:spcPct val="40000"/>
        </a:spcBef>
        <a:spcAft>
          <a:spcPct val="0"/>
        </a:spcAft>
        <a:buFont typeface="Wingdings" panose="05000000000000000000" pitchFamily="2" charset="2"/>
        <a:buChar char="Ø"/>
        <a:defRPr sz="2800">
          <a:solidFill>
            <a:schemeClr val="bg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lnSpc>
          <a:spcPct val="90000"/>
        </a:lnSpc>
        <a:spcBef>
          <a:spcPct val="40000"/>
        </a:spcBef>
        <a:spcAft>
          <a:spcPct val="0"/>
        </a:spcAft>
        <a:buChar char="•"/>
        <a:defRPr sz="2400">
          <a:solidFill>
            <a:srgbClr val="FFFF93"/>
          </a:solidFill>
          <a:latin typeface="+mn-lt"/>
        </a:defRPr>
      </a:lvl2pPr>
      <a:lvl3pPr marL="1143000" indent="-228600" algn="l" rtl="0" eaLnBrk="0" fontAlgn="base" hangingPunct="0">
        <a:lnSpc>
          <a:spcPct val="90000"/>
        </a:lnSpc>
        <a:spcBef>
          <a:spcPct val="40000"/>
        </a:spcBef>
        <a:spcAft>
          <a:spcPct val="0"/>
        </a:spcAft>
        <a:buFont typeface="Bookman Old Style" panose="02050604050505020204" pitchFamily="18" charset="0"/>
        <a:buChar char="−"/>
        <a:defRPr sz="2000">
          <a:solidFill>
            <a:srgbClr val="FFFFCC"/>
          </a:solidFill>
          <a:latin typeface="+mn-lt"/>
        </a:defRPr>
      </a:lvl3pPr>
      <a:lvl4pPr marL="1600200" indent="-228600" algn="l" rtl="0" eaLnBrk="0" fontAlgn="base" hangingPunct="0">
        <a:lnSpc>
          <a:spcPct val="90000"/>
        </a:lnSpc>
        <a:spcBef>
          <a:spcPct val="40000"/>
        </a:spcBef>
        <a:spcAft>
          <a:spcPct val="0"/>
        </a:spcAft>
        <a:buChar char="–"/>
        <a:defRPr>
          <a:solidFill>
            <a:schemeClr val="bg1"/>
          </a:solidFill>
          <a:latin typeface="+mn-lt"/>
        </a:defRPr>
      </a:lvl4pPr>
      <a:lvl5pPr marL="2057400" indent="-228600" algn="l" rtl="0" eaLnBrk="0" fontAlgn="base" hangingPunct="0">
        <a:lnSpc>
          <a:spcPct val="90000"/>
        </a:lnSpc>
        <a:spcBef>
          <a:spcPct val="40000"/>
        </a:spcBef>
        <a:spcAft>
          <a:spcPct val="0"/>
        </a:spcAft>
        <a:buChar char="»"/>
        <a:defRPr sz="1600">
          <a:solidFill>
            <a:schemeClr val="bg1"/>
          </a:solidFill>
          <a:latin typeface="+mn-lt"/>
        </a:defRPr>
      </a:lvl5pPr>
      <a:lvl6pPr marL="2514600" indent="-228600" algn="l" rtl="0" eaLnBrk="0" fontAlgn="base" hangingPunct="0">
        <a:lnSpc>
          <a:spcPct val="90000"/>
        </a:lnSpc>
        <a:spcBef>
          <a:spcPct val="40000"/>
        </a:spcBef>
        <a:spcAft>
          <a:spcPct val="0"/>
        </a:spcAft>
        <a:buChar char="»"/>
        <a:defRPr sz="1600">
          <a:solidFill>
            <a:schemeClr val="bg1"/>
          </a:solidFill>
          <a:latin typeface="+mn-lt"/>
        </a:defRPr>
      </a:lvl6pPr>
      <a:lvl7pPr marL="2971800" indent="-228600" algn="l" rtl="0" eaLnBrk="0" fontAlgn="base" hangingPunct="0">
        <a:lnSpc>
          <a:spcPct val="90000"/>
        </a:lnSpc>
        <a:spcBef>
          <a:spcPct val="40000"/>
        </a:spcBef>
        <a:spcAft>
          <a:spcPct val="0"/>
        </a:spcAft>
        <a:buChar char="»"/>
        <a:defRPr sz="1600">
          <a:solidFill>
            <a:schemeClr val="bg1"/>
          </a:solidFill>
          <a:latin typeface="+mn-lt"/>
        </a:defRPr>
      </a:lvl7pPr>
      <a:lvl8pPr marL="3429000" indent="-228600" algn="l" rtl="0" eaLnBrk="0" fontAlgn="base" hangingPunct="0">
        <a:lnSpc>
          <a:spcPct val="90000"/>
        </a:lnSpc>
        <a:spcBef>
          <a:spcPct val="40000"/>
        </a:spcBef>
        <a:spcAft>
          <a:spcPct val="0"/>
        </a:spcAft>
        <a:buChar char="»"/>
        <a:defRPr sz="1600">
          <a:solidFill>
            <a:schemeClr val="bg1"/>
          </a:solidFill>
          <a:latin typeface="+mn-lt"/>
        </a:defRPr>
      </a:lvl8pPr>
      <a:lvl9pPr marL="3886200" indent="-228600" algn="l" rtl="0" eaLnBrk="0" fontAlgn="base" hangingPunct="0">
        <a:lnSpc>
          <a:spcPct val="90000"/>
        </a:lnSpc>
        <a:spcBef>
          <a:spcPct val="40000"/>
        </a:spcBef>
        <a:spcAft>
          <a:spcPct val="0"/>
        </a:spcAft>
        <a:buChar char="»"/>
        <a:defRPr sz="1600">
          <a:solidFill>
            <a:schemeClr val="bg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D349277-551A-4F8E-B245-F4BCA1989F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8749C34-21F5-49D3-90D0-0356A90B5EA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971314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32" r:id="rId2"/>
    <p:sldLayoutId id="2147483733" r:id="rId3"/>
    <p:sldLayoutId id="2147483734" r:id="rId4"/>
    <p:sldLayoutId id="2147483735" r:id="rId5"/>
    <p:sldLayoutId id="2147483736" r:id="rId6"/>
    <p:sldLayoutId id="2147483737" r:id="rId7"/>
    <p:sldLayoutId id="2147483738" r:id="rId8"/>
    <p:sldLayoutId id="2147483739" r:id="rId9"/>
    <p:sldLayoutId id="2147483740" r:id="rId1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rgbClr val="FF610F"/>
          </a:solidFill>
          <a:latin typeface="Agrandir Medium" panose="00000600000000000000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13" Type="http://schemas.openxmlformats.org/officeDocument/2006/relationships/image" Target="../media/image52.png"/><Relationship Id="rId18" Type="http://schemas.openxmlformats.org/officeDocument/2006/relationships/image" Target="../media/image57.png"/><Relationship Id="rId26" Type="http://schemas.openxmlformats.org/officeDocument/2006/relationships/image" Target="../media/image65.png"/><Relationship Id="rId3" Type="http://schemas.openxmlformats.org/officeDocument/2006/relationships/image" Target="../media/image1.png"/><Relationship Id="rId21" Type="http://schemas.openxmlformats.org/officeDocument/2006/relationships/image" Target="../media/image60.png"/><Relationship Id="rId7" Type="http://schemas.openxmlformats.org/officeDocument/2006/relationships/image" Target="../media/image46.png"/><Relationship Id="rId12" Type="http://schemas.openxmlformats.org/officeDocument/2006/relationships/image" Target="../media/image51.png"/><Relationship Id="rId17" Type="http://schemas.openxmlformats.org/officeDocument/2006/relationships/image" Target="../media/image56.png"/><Relationship Id="rId25" Type="http://schemas.openxmlformats.org/officeDocument/2006/relationships/image" Target="../media/image64.png"/><Relationship Id="rId2" Type="http://schemas.openxmlformats.org/officeDocument/2006/relationships/image" Target="../media/image42.png"/><Relationship Id="rId16" Type="http://schemas.openxmlformats.org/officeDocument/2006/relationships/image" Target="../media/image55.png"/><Relationship Id="rId20" Type="http://schemas.openxmlformats.org/officeDocument/2006/relationships/image" Target="../media/image59.png"/><Relationship Id="rId29" Type="http://schemas.openxmlformats.org/officeDocument/2006/relationships/image" Target="../media/image2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5.png"/><Relationship Id="rId11" Type="http://schemas.openxmlformats.org/officeDocument/2006/relationships/image" Target="../media/image50.png"/><Relationship Id="rId24" Type="http://schemas.openxmlformats.org/officeDocument/2006/relationships/image" Target="../media/image63.png"/><Relationship Id="rId5" Type="http://schemas.openxmlformats.org/officeDocument/2006/relationships/image" Target="../media/image44.png"/><Relationship Id="rId15" Type="http://schemas.openxmlformats.org/officeDocument/2006/relationships/image" Target="../media/image54.png"/><Relationship Id="rId23" Type="http://schemas.openxmlformats.org/officeDocument/2006/relationships/image" Target="../media/image62.png"/><Relationship Id="rId28" Type="http://schemas.openxmlformats.org/officeDocument/2006/relationships/image" Target="../media/image67.png"/><Relationship Id="rId10" Type="http://schemas.openxmlformats.org/officeDocument/2006/relationships/image" Target="../media/image49.png"/><Relationship Id="rId19" Type="http://schemas.openxmlformats.org/officeDocument/2006/relationships/image" Target="../media/image58.png"/><Relationship Id="rId4" Type="http://schemas.openxmlformats.org/officeDocument/2006/relationships/image" Target="../media/image43.png"/><Relationship Id="rId9" Type="http://schemas.openxmlformats.org/officeDocument/2006/relationships/image" Target="../media/image48.png"/><Relationship Id="rId14" Type="http://schemas.openxmlformats.org/officeDocument/2006/relationships/image" Target="../media/image53.png"/><Relationship Id="rId22" Type="http://schemas.openxmlformats.org/officeDocument/2006/relationships/image" Target="../media/image61.png"/><Relationship Id="rId27" Type="http://schemas.openxmlformats.org/officeDocument/2006/relationships/image" Target="../media/image6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emf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73.png"/><Relationship Id="rId4" Type="http://schemas.openxmlformats.org/officeDocument/2006/relationships/image" Target="../media/image72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76.jpeg"/><Relationship Id="rId4" Type="http://schemas.openxmlformats.org/officeDocument/2006/relationships/image" Target="../media/image75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4.png"/><Relationship Id="rId13" Type="http://schemas.openxmlformats.org/officeDocument/2006/relationships/image" Target="../media/image89.svg"/><Relationship Id="rId18" Type="http://schemas.openxmlformats.org/officeDocument/2006/relationships/image" Target="../media/image94.png"/><Relationship Id="rId3" Type="http://schemas.openxmlformats.org/officeDocument/2006/relationships/image" Target="../media/image79.svg"/><Relationship Id="rId21" Type="http://schemas.openxmlformats.org/officeDocument/2006/relationships/image" Target="../media/image97.svg"/><Relationship Id="rId7" Type="http://schemas.openxmlformats.org/officeDocument/2006/relationships/image" Target="../media/image83.svg"/><Relationship Id="rId12" Type="http://schemas.openxmlformats.org/officeDocument/2006/relationships/image" Target="../media/image88.png"/><Relationship Id="rId17" Type="http://schemas.openxmlformats.org/officeDocument/2006/relationships/image" Target="../media/image93.svg"/><Relationship Id="rId2" Type="http://schemas.openxmlformats.org/officeDocument/2006/relationships/image" Target="../media/image78.png"/><Relationship Id="rId16" Type="http://schemas.openxmlformats.org/officeDocument/2006/relationships/image" Target="../media/image92.png"/><Relationship Id="rId20" Type="http://schemas.openxmlformats.org/officeDocument/2006/relationships/image" Target="../media/image9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2.png"/><Relationship Id="rId11" Type="http://schemas.openxmlformats.org/officeDocument/2006/relationships/image" Target="../media/image87.svg"/><Relationship Id="rId5" Type="http://schemas.openxmlformats.org/officeDocument/2006/relationships/image" Target="../media/image81.svg"/><Relationship Id="rId15" Type="http://schemas.openxmlformats.org/officeDocument/2006/relationships/image" Target="../media/image91.svg"/><Relationship Id="rId10" Type="http://schemas.openxmlformats.org/officeDocument/2006/relationships/image" Target="../media/image86.png"/><Relationship Id="rId19" Type="http://schemas.openxmlformats.org/officeDocument/2006/relationships/image" Target="../media/image95.svg"/><Relationship Id="rId4" Type="http://schemas.openxmlformats.org/officeDocument/2006/relationships/image" Target="../media/image80.png"/><Relationship Id="rId9" Type="http://schemas.openxmlformats.org/officeDocument/2006/relationships/image" Target="../media/image85.svg"/><Relationship Id="rId14" Type="http://schemas.openxmlformats.org/officeDocument/2006/relationships/image" Target="../media/image90.png"/><Relationship Id="rId22" Type="http://schemas.openxmlformats.org/officeDocument/2006/relationships/image" Target="../media/image98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5.png"/><Relationship Id="rId3" Type="http://schemas.openxmlformats.org/officeDocument/2006/relationships/image" Target="../media/image100.png"/><Relationship Id="rId7" Type="http://schemas.openxmlformats.org/officeDocument/2006/relationships/image" Target="../media/image104.png"/><Relationship Id="rId2" Type="http://schemas.openxmlformats.org/officeDocument/2006/relationships/image" Target="../media/image9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3.png"/><Relationship Id="rId5" Type="http://schemas.openxmlformats.org/officeDocument/2006/relationships/image" Target="../media/image102.png"/><Relationship Id="rId4" Type="http://schemas.openxmlformats.org/officeDocument/2006/relationships/image" Target="../media/image101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4.png"/><Relationship Id="rId3" Type="http://schemas.openxmlformats.org/officeDocument/2006/relationships/image" Target="../media/image107.png"/><Relationship Id="rId7" Type="http://schemas.openxmlformats.org/officeDocument/2006/relationships/image" Target="../media/image103.png"/><Relationship Id="rId2" Type="http://schemas.openxmlformats.org/officeDocument/2006/relationships/image" Target="../media/image10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2.png"/><Relationship Id="rId5" Type="http://schemas.openxmlformats.org/officeDocument/2006/relationships/image" Target="../media/image101.png"/><Relationship Id="rId4" Type="http://schemas.openxmlformats.org/officeDocument/2006/relationships/image" Target="../media/image100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2" Type="http://schemas.openxmlformats.org/officeDocument/2006/relationships/image" Target="../media/image108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4.png"/><Relationship Id="rId4" Type="http://schemas.openxmlformats.org/officeDocument/2006/relationships/image" Target="../media/image10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41.xml"/><Relationship Id="rId4" Type="http://schemas.openxmlformats.org/officeDocument/2006/relationships/image" Target="../media/image21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7" Type="http://schemas.openxmlformats.org/officeDocument/2006/relationships/image" Target="../media/image111.png"/><Relationship Id="rId2" Type="http://schemas.openxmlformats.org/officeDocument/2006/relationships/image" Target="../media/image10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0.png"/><Relationship Id="rId5" Type="http://schemas.openxmlformats.org/officeDocument/2006/relationships/image" Target="../media/image104.png"/><Relationship Id="rId4" Type="http://schemas.openxmlformats.org/officeDocument/2006/relationships/image" Target="../media/image102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3.svg"/><Relationship Id="rId2" Type="http://schemas.openxmlformats.org/officeDocument/2006/relationships/image" Target="../media/image11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4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15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16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17.jp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16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jpeg"/><Relationship Id="rId3" Type="http://schemas.openxmlformats.org/officeDocument/2006/relationships/image" Target="../media/image22.jpeg"/><Relationship Id="rId7" Type="http://schemas.openxmlformats.org/officeDocument/2006/relationships/image" Target="../media/image2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.jpeg"/><Relationship Id="rId5" Type="http://schemas.openxmlformats.org/officeDocument/2006/relationships/image" Target="../media/image24.jpeg"/><Relationship Id="rId10" Type="http://schemas.openxmlformats.org/officeDocument/2006/relationships/image" Target="../media/image29.jpeg"/><Relationship Id="rId4" Type="http://schemas.openxmlformats.org/officeDocument/2006/relationships/image" Target="../media/image23.jpeg"/><Relationship Id="rId9" Type="http://schemas.openxmlformats.org/officeDocument/2006/relationships/image" Target="../media/image28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.png"/><Relationship Id="rId4" Type="http://schemas.openxmlformats.org/officeDocument/2006/relationships/image" Target="../media/image3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29D120-5C7B-432D-BB04-F7FF95083FC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pt-BR" sz="3600" spc="240" dirty="0"/>
              <a:t>A INDÚSTRIA DE O&amp;G  E SEUS                                    MEGA-PROJETOS</a:t>
            </a:r>
            <a:endParaRPr lang="en-US" dirty="0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BE154594-8F4C-4DE0-A583-F4202A83A48F}"/>
              </a:ext>
            </a:extLst>
          </p:cNvPr>
          <p:cNvSpPr txBox="1"/>
          <p:nvPr/>
        </p:nvSpPr>
        <p:spPr>
          <a:xfrm>
            <a:off x="363583" y="4715531"/>
            <a:ext cx="3108480" cy="707886"/>
          </a:xfrm>
          <a:prstGeom prst="rect">
            <a:avLst/>
          </a:prstGeom>
          <a:solidFill>
            <a:srgbClr val="FF610F"/>
          </a:solidFill>
        </p:spPr>
        <p:txBody>
          <a:bodyPr wrap="none" rtlCol="0">
            <a:spAutoFit/>
          </a:bodyPr>
          <a:lstStyle/>
          <a:p>
            <a:r>
              <a:rPr lang="en-US" sz="2000" b="1" dirty="0">
                <a:solidFill>
                  <a:schemeClr val="bg1"/>
                </a:solidFill>
                <a:latin typeface="Agrandir Bold" panose="00000800000000000000"/>
              </a:rPr>
              <a:t>Osmond Coelho Júnior</a:t>
            </a:r>
          </a:p>
          <a:p>
            <a:r>
              <a:rPr lang="en-US" sz="2000" b="1" dirty="0" err="1">
                <a:solidFill>
                  <a:schemeClr val="bg1"/>
                </a:solidFill>
                <a:latin typeface="Agrandir Bold" panose="00000800000000000000"/>
              </a:rPr>
              <a:t>Pré</a:t>
            </a:r>
            <a:r>
              <a:rPr lang="en-US" sz="2000" b="1" dirty="0">
                <a:solidFill>
                  <a:schemeClr val="bg1"/>
                </a:solidFill>
                <a:latin typeface="Agrandir Bold" panose="00000800000000000000"/>
              </a:rPr>
              <a:t>-Sal </a:t>
            </a:r>
            <a:r>
              <a:rPr lang="en-US" sz="2000" b="1" dirty="0" err="1">
                <a:solidFill>
                  <a:schemeClr val="bg1"/>
                </a:solidFill>
                <a:latin typeface="Agrandir Bold" panose="00000800000000000000"/>
              </a:rPr>
              <a:t>Petróleo</a:t>
            </a:r>
            <a:r>
              <a:rPr lang="en-US" sz="2000" b="1" dirty="0">
                <a:solidFill>
                  <a:schemeClr val="bg1"/>
                </a:solidFill>
                <a:latin typeface="Agrandir Bold" panose="00000800000000000000"/>
              </a:rPr>
              <a:t> S.A. - PPSA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26401B00-4459-49D4-8487-55BCC4EDA7B2}"/>
              </a:ext>
            </a:extLst>
          </p:cNvPr>
          <p:cNvSpPr txBox="1"/>
          <p:nvPr/>
        </p:nvSpPr>
        <p:spPr>
          <a:xfrm>
            <a:off x="7632075" y="4463187"/>
            <a:ext cx="4196342" cy="728276"/>
          </a:xfrm>
          <a:prstGeom prst="rect">
            <a:avLst/>
          </a:prstGeom>
          <a:solidFill>
            <a:srgbClr val="FF610F"/>
          </a:solidFill>
        </p:spPr>
        <p:txBody>
          <a:bodyPr wrap="none" rtlCol="0">
            <a:spAutoFit/>
          </a:bodyPr>
          <a:lstStyle/>
          <a:p>
            <a:pPr>
              <a:lnSpc>
                <a:spcPts val="4500"/>
              </a:lnSpc>
            </a:pPr>
            <a:r>
              <a:rPr lang="en-US" sz="6000" dirty="0">
                <a:solidFill>
                  <a:schemeClr val="bg1"/>
                </a:solidFill>
                <a:latin typeface="Agrandir Bold" panose="00000800000000000000"/>
              </a:rPr>
              <a:t>Construction</a:t>
            </a:r>
          </a:p>
        </p:txBody>
      </p:sp>
      <p:sp>
        <p:nvSpPr>
          <p:cNvPr id="7" name="Retângulo 6">
            <a:extLst>
              <a:ext uri="{FF2B5EF4-FFF2-40B4-BE49-F238E27FC236}">
                <a16:creationId xmlns:a16="http://schemas.microsoft.com/office/drawing/2014/main" id="{0E072D8F-176F-4691-A473-6FF91B112C8C}"/>
              </a:ext>
            </a:extLst>
          </p:cNvPr>
          <p:cNvSpPr/>
          <p:nvPr/>
        </p:nvSpPr>
        <p:spPr>
          <a:xfrm>
            <a:off x="1401416" y="457200"/>
            <a:ext cx="3667735" cy="364534"/>
          </a:xfrm>
          <a:prstGeom prst="rect">
            <a:avLst/>
          </a:prstGeom>
          <a:solidFill>
            <a:srgbClr val="FF61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5BD5D7D2-8747-4DC6-BACE-0093DF02C204}"/>
              </a:ext>
            </a:extLst>
          </p:cNvPr>
          <p:cNvSpPr txBox="1"/>
          <p:nvPr/>
        </p:nvSpPr>
        <p:spPr>
          <a:xfrm>
            <a:off x="1321904" y="404314"/>
            <a:ext cx="3667735" cy="477054"/>
          </a:xfrm>
          <a:prstGeom prst="rect">
            <a:avLst/>
          </a:prstGeom>
          <a:noFill/>
        </p:spPr>
        <p:txBody>
          <a:bodyPr wrap="none" rtlCol="0" anchor="b">
            <a:spAutoFit/>
          </a:bodyPr>
          <a:lstStyle/>
          <a:p>
            <a:pPr>
              <a:lnSpc>
                <a:spcPts val="3000"/>
              </a:lnSpc>
            </a:pPr>
            <a:r>
              <a:rPr lang="en-US" sz="2800" dirty="0">
                <a:solidFill>
                  <a:schemeClr val="bg1"/>
                </a:solidFill>
                <a:latin typeface="Agrandir Bold" panose="00000800000000000000"/>
              </a:rPr>
              <a:t>Changemakers Initiative</a:t>
            </a:r>
          </a:p>
        </p:txBody>
      </p:sp>
    </p:spTree>
    <p:extLst>
      <p:ext uri="{BB962C8B-B14F-4D97-AF65-F5344CB8AC3E}">
        <p14:creationId xmlns:p14="http://schemas.microsoft.com/office/powerpoint/2010/main" val="165101107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4C74FCAD-9378-E7A2-B2D9-E7F81DEC84B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20843" y="4605688"/>
            <a:ext cx="2596810" cy="683483"/>
          </a:xfrm>
          <a:prstGeom prst="rect">
            <a:avLst/>
          </a:prstGeom>
        </p:spPr>
      </p:pic>
      <p:pic>
        <p:nvPicPr>
          <p:cNvPr id="27" name="Imagem 26">
            <a:extLst>
              <a:ext uri="{FF2B5EF4-FFF2-40B4-BE49-F238E27FC236}">
                <a16:creationId xmlns:a16="http://schemas.microsoft.com/office/drawing/2014/main" id="{80A83017-A7DE-42AA-B27A-142FCA7FBD3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6068"/>
          <a:stretch/>
        </p:blipFill>
        <p:spPr>
          <a:xfrm>
            <a:off x="0" y="5918250"/>
            <a:ext cx="12191999" cy="950402"/>
          </a:xfrm>
          <a:prstGeom prst="rect">
            <a:avLst/>
          </a:prstGeom>
        </p:spPr>
      </p:pic>
      <p:pic>
        <p:nvPicPr>
          <p:cNvPr id="2" name="Imagem 1">
            <a:extLst>
              <a:ext uri="{FF2B5EF4-FFF2-40B4-BE49-F238E27FC236}">
                <a16:creationId xmlns:a16="http://schemas.microsoft.com/office/drawing/2014/main" id="{C2A8BE2E-466D-F884-5D72-0831CAB07797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19" t="4283" r="2273"/>
          <a:stretch/>
        </p:blipFill>
        <p:spPr>
          <a:xfrm>
            <a:off x="292466" y="3534827"/>
            <a:ext cx="1703375" cy="1473953"/>
          </a:xfrm>
          <a:prstGeom prst="rect">
            <a:avLst/>
          </a:prstGeom>
        </p:spPr>
      </p:pic>
      <p:pic>
        <p:nvPicPr>
          <p:cNvPr id="3" name="Imagem 2">
            <a:extLst>
              <a:ext uri="{FF2B5EF4-FFF2-40B4-BE49-F238E27FC236}">
                <a16:creationId xmlns:a16="http://schemas.microsoft.com/office/drawing/2014/main" id="{8E194737-4DDB-D023-D851-48F18AD7DA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43741" y="4397563"/>
            <a:ext cx="3275676" cy="636007"/>
          </a:xfrm>
          <a:prstGeom prst="rect">
            <a:avLst/>
          </a:prstGeom>
        </p:spPr>
      </p:pic>
      <p:pic>
        <p:nvPicPr>
          <p:cNvPr id="4" name="Imagem 3">
            <a:extLst>
              <a:ext uri="{FF2B5EF4-FFF2-40B4-BE49-F238E27FC236}">
                <a16:creationId xmlns:a16="http://schemas.microsoft.com/office/drawing/2014/main" id="{FAFF6ADC-8E81-D689-B212-258531672B7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69632" y="2638222"/>
            <a:ext cx="2528979" cy="676600"/>
          </a:xfrm>
          <a:prstGeom prst="rect">
            <a:avLst/>
          </a:prstGeom>
        </p:spPr>
      </p:pic>
      <p:pic>
        <p:nvPicPr>
          <p:cNvPr id="7" name="Imagem 6">
            <a:extLst>
              <a:ext uri="{FF2B5EF4-FFF2-40B4-BE49-F238E27FC236}">
                <a16:creationId xmlns:a16="http://schemas.microsoft.com/office/drawing/2014/main" id="{6D20E197-8B0F-5821-E579-ED3CE07BA79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97100" y="4953414"/>
            <a:ext cx="1724252" cy="636159"/>
          </a:xfrm>
          <a:prstGeom prst="rect">
            <a:avLst/>
          </a:prstGeom>
        </p:spPr>
      </p:pic>
      <p:pic>
        <p:nvPicPr>
          <p:cNvPr id="8" name="Imagem 7">
            <a:extLst>
              <a:ext uri="{FF2B5EF4-FFF2-40B4-BE49-F238E27FC236}">
                <a16:creationId xmlns:a16="http://schemas.microsoft.com/office/drawing/2014/main" id="{87F5D932-61DA-3510-0EE0-2F58A59A8832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900"/>
          <a:stretch/>
        </p:blipFill>
        <p:spPr>
          <a:xfrm>
            <a:off x="6623782" y="1339442"/>
            <a:ext cx="4201826" cy="724656"/>
          </a:xfrm>
          <a:prstGeom prst="rect">
            <a:avLst/>
          </a:prstGeom>
        </p:spPr>
      </p:pic>
      <p:pic>
        <p:nvPicPr>
          <p:cNvPr id="10" name="Imagem 9">
            <a:extLst>
              <a:ext uri="{FF2B5EF4-FFF2-40B4-BE49-F238E27FC236}">
                <a16:creationId xmlns:a16="http://schemas.microsoft.com/office/drawing/2014/main" id="{BE4C09B2-F2AE-E4DF-D376-36C051565CE9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659"/>
          <a:stretch/>
        </p:blipFill>
        <p:spPr>
          <a:xfrm>
            <a:off x="4229846" y="2326003"/>
            <a:ext cx="2765716" cy="835779"/>
          </a:xfrm>
          <a:prstGeom prst="rect">
            <a:avLst/>
          </a:prstGeom>
        </p:spPr>
      </p:pic>
      <p:pic>
        <p:nvPicPr>
          <p:cNvPr id="17" name="Imagem 16">
            <a:extLst>
              <a:ext uri="{FF2B5EF4-FFF2-40B4-BE49-F238E27FC236}">
                <a16:creationId xmlns:a16="http://schemas.microsoft.com/office/drawing/2014/main" id="{7F7B1D12-097B-9B6C-1983-9579B70B4CF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4550" y="3408186"/>
            <a:ext cx="3097375" cy="479577"/>
          </a:xfrm>
          <a:prstGeom prst="rect">
            <a:avLst/>
          </a:prstGeom>
        </p:spPr>
      </p:pic>
      <p:pic>
        <p:nvPicPr>
          <p:cNvPr id="19" name="Imagem 18">
            <a:extLst>
              <a:ext uri="{FF2B5EF4-FFF2-40B4-BE49-F238E27FC236}">
                <a16:creationId xmlns:a16="http://schemas.microsoft.com/office/drawing/2014/main" id="{4980FE63-41E8-9E29-386F-40501252DCC5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373" b="4611"/>
          <a:stretch/>
        </p:blipFill>
        <p:spPr>
          <a:xfrm>
            <a:off x="907586" y="2167651"/>
            <a:ext cx="2822499" cy="565491"/>
          </a:xfrm>
          <a:prstGeom prst="rect">
            <a:avLst/>
          </a:prstGeom>
        </p:spPr>
      </p:pic>
      <p:pic>
        <p:nvPicPr>
          <p:cNvPr id="20" name="Imagem 19">
            <a:extLst>
              <a:ext uri="{FF2B5EF4-FFF2-40B4-BE49-F238E27FC236}">
                <a16:creationId xmlns:a16="http://schemas.microsoft.com/office/drawing/2014/main" id="{3D72EFAE-E586-165B-96EF-FC46D498975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345" y="1232683"/>
            <a:ext cx="3642409" cy="791486"/>
          </a:xfrm>
          <a:prstGeom prst="rect">
            <a:avLst/>
          </a:prstGeom>
        </p:spPr>
      </p:pic>
      <p:pic>
        <p:nvPicPr>
          <p:cNvPr id="22" name="Imagem 21">
            <a:extLst>
              <a:ext uri="{FF2B5EF4-FFF2-40B4-BE49-F238E27FC236}">
                <a16:creationId xmlns:a16="http://schemas.microsoft.com/office/drawing/2014/main" id="{AB928F4D-BB2F-E597-687F-756A5EDED989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57257" y="2180351"/>
            <a:ext cx="275753" cy="250354"/>
          </a:xfrm>
          <a:prstGeom prst="rect">
            <a:avLst/>
          </a:prstGeom>
        </p:spPr>
      </p:pic>
      <p:pic>
        <p:nvPicPr>
          <p:cNvPr id="24" name="Imagem 23">
            <a:extLst>
              <a:ext uri="{FF2B5EF4-FFF2-40B4-BE49-F238E27FC236}">
                <a16:creationId xmlns:a16="http://schemas.microsoft.com/office/drawing/2014/main" id="{D0C8C7AF-5742-6A09-B585-C41671D3FAC8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292466" y="980521"/>
            <a:ext cx="578746" cy="192110"/>
          </a:xfrm>
          <a:prstGeom prst="rect">
            <a:avLst/>
          </a:prstGeom>
        </p:spPr>
      </p:pic>
      <p:pic>
        <p:nvPicPr>
          <p:cNvPr id="25" name="Imagem 24">
            <a:extLst>
              <a:ext uri="{FF2B5EF4-FFF2-40B4-BE49-F238E27FC236}">
                <a16:creationId xmlns:a16="http://schemas.microsoft.com/office/drawing/2014/main" id="{CDD8385C-6F53-29AE-7061-D1853AC0B855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391991" y="3738014"/>
            <a:ext cx="275753" cy="250354"/>
          </a:xfrm>
          <a:prstGeom prst="rect">
            <a:avLst/>
          </a:prstGeom>
        </p:spPr>
      </p:pic>
      <p:pic>
        <p:nvPicPr>
          <p:cNvPr id="28" name="Imagem 27">
            <a:extLst>
              <a:ext uri="{FF2B5EF4-FFF2-40B4-BE49-F238E27FC236}">
                <a16:creationId xmlns:a16="http://schemas.microsoft.com/office/drawing/2014/main" id="{B1010A71-1107-9A62-AE0D-6BD9F7AD7D92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8675036" y="2402353"/>
            <a:ext cx="533917" cy="148836"/>
          </a:xfrm>
          <a:prstGeom prst="rect">
            <a:avLst/>
          </a:prstGeom>
        </p:spPr>
      </p:pic>
      <p:pic>
        <p:nvPicPr>
          <p:cNvPr id="30" name="Imagem 29">
            <a:extLst>
              <a:ext uri="{FF2B5EF4-FFF2-40B4-BE49-F238E27FC236}">
                <a16:creationId xmlns:a16="http://schemas.microsoft.com/office/drawing/2014/main" id="{89F396BB-3475-053C-D5B6-7C681DD2F167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10292182" y="4720627"/>
            <a:ext cx="740807" cy="195176"/>
          </a:xfrm>
          <a:prstGeom prst="rect">
            <a:avLst/>
          </a:prstGeom>
        </p:spPr>
      </p:pic>
      <p:pic>
        <p:nvPicPr>
          <p:cNvPr id="32" name="Imagem 31">
            <a:extLst>
              <a:ext uri="{FF2B5EF4-FFF2-40B4-BE49-F238E27FC236}">
                <a16:creationId xmlns:a16="http://schemas.microsoft.com/office/drawing/2014/main" id="{60F4FE4D-8F7B-72CC-5B19-BEF2E7D4106F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5312563" y="5621547"/>
            <a:ext cx="2690516" cy="703515"/>
          </a:xfrm>
          <a:prstGeom prst="rect">
            <a:avLst/>
          </a:prstGeom>
        </p:spPr>
      </p:pic>
      <p:pic>
        <p:nvPicPr>
          <p:cNvPr id="34" name="Imagem 33">
            <a:extLst>
              <a:ext uri="{FF2B5EF4-FFF2-40B4-BE49-F238E27FC236}">
                <a16:creationId xmlns:a16="http://schemas.microsoft.com/office/drawing/2014/main" id="{B4681EFB-2D5D-65D6-3CCB-AFE8B08041B4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5373808" y="5357928"/>
            <a:ext cx="238896" cy="204768"/>
          </a:xfrm>
          <a:prstGeom prst="rect">
            <a:avLst/>
          </a:prstGeom>
        </p:spPr>
      </p:pic>
      <p:pic>
        <p:nvPicPr>
          <p:cNvPr id="36" name="Imagem 35">
            <a:extLst>
              <a:ext uri="{FF2B5EF4-FFF2-40B4-BE49-F238E27FC236}">
                <a16:creationId xmlns:a16="http://schemas.microsoft.com/office/drawing/2014/main" id="{CC0707C5-C18E-566F-DF8D-C9300F8867DE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6538393" y="1030818"/>
            <a:ext cx="914338" cy="246726"/>
          </a:xfrm>
          <a:prstGeom prst="rect">
            <a:avLst/>
          </a:prstGeom>
        </p:spPr>
      </p:pic>
      <p:pic>
        <p:nvPicPr>
          <p:cNvPr id="38" name="Imagem 37">
            <a:extLst>
              <a:ext uri="{FF2B5EF4-FFF2-40B4-BE49-F238E27FC236}">
                <a16:creationId xmlns:a16="http://schemas.microsoft.com/office/drawing/2014/main" id="{9209E9AC-B6E9-B0E5-069E-63AE854FE072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4387451" y="2108391"/>
            <a:ext cx="964514" cy="109838"/>
          </a:xfrm>
          <a:prstGeom prst="rect">
            <a:avLst/>
          </a:prstGeom>
        </p:spPr>
      </p:pic>
      <p:pic>
        <p:nvPicPr>
          <p:cNvPr id="40" name="Imagem 39">
            <a:extLst>
              <a:ext uri="{FF2B5EF4-FFF2-40B4-BE49-F238E27FC236}">
                <a16:creationId xmlns:a16="http://schemas.microsoft.com/office/drawing/2014/main" id="{4CE40CC8-203C-AEEB-00F4-65D430C654EC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6820843" y="4348829"/>
            <a:ext cx="481071" cy="274898"/>
          </a:xfrm>
          <a:prstGeom prst="rect">
            <a:avLst/>
          </a:prstGeom>
        </p:spPr>
      </p:pic>
      <p:pic>
        <p:nvPicPr>
          <p:cNvPr id="42" name="Imagem 41">
            <a:extLst>
              <a:ext uri="{FF2B5EF4-FFF2-40B4-BE49-F238E27FC236}">
                <a16:creationId xmlns:a16="http://schemas.microsoft.com/office/drawing/2014/main" id="{5E4326A6-84DC-9F57-828E-F6ADB8767690}"/>
              </a:ext>
            </a:extLst>
          </p:cNvPr>
          <p:cNvPicPr>
            <a:picLocks noChangeAspect="1"/>
          </p:cNvPicPr>
          <p:nvPr/>
        </p:nvPicPr>
        <p:blipFill>
          <a:blip r:embed="rId2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72680" y="2927041"/>
            <a:ext cx="3084623" cy="408056"/>
          </a:xfrm>
          <a:prstGeom prst="rect">
            <a:avLst/>
          </a:prstGeom>
        </p:spPr>
      </p:pic>
      <p:pic>
        <p:nvPicPr>
          <p:cNvPr id="44" name="Imagem 43">
            <a:extLst>
              <a:ext uri="{FF2B5EF4-FFF2-40B4-BE49-F238E27FC236}">
                <a16:creationId xmlns:a16="http://schemas.microsoft.com/office/drawing/2014/main" id="{A9706840-9C4A-B94C-1DD7-1C5980F32D32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106752" y="2889416"/>
            <a:ext cx="519620" cy="188588"/>
          </a:xfrm>
          <a:prstGeom prst="rect">
            <a:avLst/>
          </a:prstGeom>
        </p:spPr>
      </p:pic>
      <p:pic>
        <p:nvPicPr>
          <p:cNvPr id="14" name="Imagem 13">
            <a:extLst>
              <a:ext uri="{FF2B5EF4-FFF2-40B4-BE49-F238E27FC236}">
                <a16:creationId xmlns:a16="http://schemas.microsoft.com/office/drawing/2014/main" id="{4E09B9B5-C7D3-95A6-36C7-547155190642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8703908" y="5843027"/>
            <a:ext cx="2108212" cy="351902"/>
          </a:xfrm>
          <a:prstGeom prst="rect">
            <a:avLst/>
          </a:prstGeom>
        </p:spPr>
      </p:pic>
      <p:pic>
        <p:nvPicPr>
          <p:cNvPr id="16" name="Imagem 15">
            <a:extLst>
              <a:ext uri="{FF2B5EF4-FFF2-40B4-BE49-F238E27FC236}">
                <a16:creationId xmlns:a16="http://schemas.microsoft.com/office/drawing/2014/main" id="{DBAEF6CB-2D88-88EE-1CE9-232792A366CC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8762396" y="5558256"/>
            <a:ext cx="433850" cy="194387"/>
          </a:xfrm>
          <a:prstGeom prst="rect">
            <a:avLst/>
          </a:prstGeom>
        </p:spPr>
      </p:pic>
      <p:pic>
        <p:nvPicPr>
          <p:cNvPr id="9" name="Imagem 8">
            <a:extLst>
              <a:ext uri="{FF2B5EF4-FFF2-40B4-BE49-F238E27FC236}">
                <a16:creationId xmlns:a16="http://schemas.microsoft.com/office/drawing/2014/main" id="{565904F8-D608-C356-1635-AE1C07B6C776}"/>
              </a:ext>
            </a:extLst>
          </p:cNvPr>
          <p:cNvPicPr>
            <a:picLocks noChangeAspect="1"/>
          </p:cNvPicPr>
          <p:nvPr/>
        </p:nvPicPr>
        <p:blipFill>
          <a:blip r:embed="rId26">
            <a:clrChange>
              <a:clrFrom>
                <a:srgbClr val="F5F6F8"/>
              </a:clrFrom>
              <a:clrTo>
                <a:srgbClr val="F5F6F8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682710" y="5311937"/>
            <a:ext cx="2820623" cy="998552"/>
          </a:xfrm>
          <a:prstGeom prst="rect">
            <a:avLst/>
          </a:prstGeom>
        </p:spPr>
      </p:pic>
      <p:pic>
        <p:nvPicPr>
          <p:cNvPr id="12" name="Imagem 11">
            <a:extLst>
              <a:ext uri="{FF2B5EF4-FFF2-40B4-BE49-F238E27FC236}">
                <a16:creationId xmlns:a16="http://schemas.microsoft.com/office/drawing/2014/main" id="{97A7BBB9-847F-1BDC-6FCC-E5AF9D87D844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8223928" y="3971619"/>
            <a:ext cx="2588192" cy="479577"/>
          </a:xfrm>
          <a:prstGeom prst="rect">
            <a:avLst/>
          </a:prstGeom>
        </p:spPr>
      </p:pic>
      <p:pic>
        <p:nvPicPr>
          <p:cNvPr id="15" name="Imagem 14">
            <a:extLst>
              <a:ext uri="{FF2B5EF4-FFF2-40B4-BE49-F238E27FC236}">
                <a16:creationId xmlns:a16="http://schemas.microsoft.com/office/drawing/2014/main" id="{76DC5541-A3C3-A164-692D-2B55CC97D12F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8242833" y="3591943"/>
            <a:ext cx="856285" cy="239470"/>
          </a:xfrm>
          <a:prstGeom prst="rect">
            <a:avLst/>
          </a:prstGeom>
        </p:spPr>
      </p:pic>
      <p:sp>
        <p:nvSpPr>
          <p:cNvPr id="31" name="Título 1">
            <a:extLst>
              <a:ext uri="{FF2B5EF4-FFF2-40B4-BE49-F238E27FC236}">
                <a16:creationId xmlns:a16="http://schemas.microsoft.com/office/drawing/2014/main" id="{95B6753B-2009-4461-B4F7-32C17FA759A9}"/>
              </a:ext>
            </a:extLst>
          </p:cNvPr>
          <p:cNvSpPr txBox="1">
            <a:spLocks/>
          </p:cNvSpPr>
          <p:nvPr/>
        </p:nvSpPr>
        <p:spPr>
          <a:xfrm>
            <a:off x="0" y="9490"/>
            <a:ext cx="11791666" cy="1028678"/>
          </a:xfrm>
          <a:prstGeom prst="rect">
            <a:avLst/>
          </a:prstGeom>
        </p:spPr>
        <p:txBody>
          <a:bodyPr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72000">
              <a:lnSpc>
                <a:spcPct val="170000"/>
              </a:lnSpc>
              <a:spcBef>
                <a:spcPts val="1200"/>
              </a:spcBef>
            </a:pPr>
            <a:r>
              <a:rPr lang="pt-BR" sz="3600" b="1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Mundo VUCA </a:t>
            </a:r>
            <a:r>
              <a:rPr lang="pt-BR" sz="3600" b="1" dirty="0">
                <a:solidFill>
                  <a:schemeClr val="accent1">
                    <a:lumMod val="75000"/>
                  </a:schemeClr>
                </a:solidFill>
                <a:latin typeface="+mn-lt"/>
                <a:sym typeface="Wingdings" panose="05000000000000000000" pitchFamily="2" charset="2"/>
              </a:rPr>
              <a:t> </a:t>
            </a:r>
            <a:r>
              <a:rPr lang="pt-BR" sz="3600" b="1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Volátil, Incerto, Complexo e Ambíguo</a:t>
            </a:r>
          </a:p>
        </p:txBody>
      </p:sp>
      <p:pic>
        <p:nvPicPr>
          <p:cNvPr id="33" name="Imagem 32">
            <a:extLst>
              <a:ext uri="{FF2B5EF4-FFF2-40B4-BE49-F238E27FC236}">
                <a16:creationId xmlns:a16="http://schemas.microsoft.com/office/drawing/2014/main" id="{414415DC-094F-4A6D-8A6C-59130EFD856F}"/>
              </a:ext>
            </a:extLst>
          </p:cNvPr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494014" y="6413135"/>
            <a:ext cx="2092207" cy="450000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8731353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9">
            <a:extLst>
              <a:ext uri="{FF2B5EF4-FFF2-40B4-BE49-F238E27FC236}">
                <a16:creationId xmlns:a16="http://schemas.microsoft.com/office/drawing/2014/main" id="{3AC66564-AB85-4BB1-9F1D-9B36B1AFAAA9}"/>
              </a:ext>
            </a:extLst>
          </p:cNvPr>
          <p:cNvSpPr txBox="1">
            <a:spLocks noChangeArrowheads="1"/>
          </p:cNvSpPr>
          <p:nvPr/>
        </p:nvSpPr>
        <p:spPr>
          <a:xfrm>
            <a:off x="503239" y="316381"/>
            <a:ext cx="7880350" cy="56738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 vert="horz" wrap="square" lIns="91428" tIns="45714" rIns="91428" bIns="45714" numCol="1" anchor="t" anchorCtr="0" compatLnSpc="1">
            <a:prstTxWarp prst="textNoShape">
              <a:avLst/>
            </a:prstTxWarp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777875">
              <a:lnSpc>
                <a:spcPct val="85000"/>
              </a:lnSpc>
            </a:pPr>
            <a:r>
              <a:rPr lang="pt-BR" altLang="pt-BR" sz="3600" b="1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Demanda mundial por energia</a:t>
            </a: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21783BEB-B472-4DFD-9EEB-0AAC49A895B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60202" y="207051"/>
            <a:ext cx="3692650" cy="2466575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36195" dist="12700" dir="11400000" algn="tl" rotWithShape="0">
              <a:srgbClr val="000000">
                <a:alpha val="33000"/>
              </a:srgbClr>
            </a:outerShdw>
          </a:effectLst>
          <a:scene3d>
            <a:camera prst="perspectiveContrastingLeftFacing">
              <a:rot lat="540000" lon="2100000" rev="0"/>
            </a:camera>
            <a:lightRig rig="soft" dir="t"/>
          </a:scene3d>
          <a:sp3d contourW="12700" prstMaterial="matte">
            <a:bevelT w="63500" h="50800"/>
            <a:contourClr>
              <a:srgbClr val="C0C0C0"/>
            </a:contourClr>
          </a:sp3d>
        </p:spPr>
      </p:pic>
      <p:grpSp>
        <p:nvGrpSpPr>
          <p:cNvPr id="14" name="Agrupar 13">
            <a:extLst>
              <a:ext uri="{FF2B5EF4-FFF2-40B4-BE49-F238E27FC236}">
                <a16:creationId xmlns:a16="http://schemas.microsoft.com/office/drawing/2014/main" id="{D78767A3-746F-445E-8E42-C2734A35F6AD}"/>
              </a:ext>
            </a:extLst>
          </p:cNvPr>
          <p:cNvGrpSpPr/>
          <p:nvPr/>
        </p:nvGrpSpPr>
        <p:grpSpPr>
          <a:xfrm>
            <a:off x="437240" y="1313346"/>
            <a:ext cx="9472415" cy="5040367"/>
            <a:chOff x="437240" y="1313346"/>
            <a:chExt cx="9472415" cy="5040367"/>
          </a:xfrm>
        </p:grpSpPr>
        <p:pic>
          <p:nvPicPr>
            <p:cNvPr id="12" name="Imagem 11">
              <a:extLst>
                <a:ext uri="{FF2B5EF4-FFF2-40B4-BE49-F238E27FC236}">
                  <a16:creationId xmlns:a16="http://schemas.microsoft.com/office/drawing/2014/main" id="{9E58423C-B761-4148-855B-5487A19CF30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437240" y="1313346"/>
              <a:ext cx="9472415" cy="5040367"/>
            </a:xfrm>
            <a:prstGeom prst="rect">
              <a:avLst/>
            </a:prstGeom>
          </p:spPr>
        </p:pic>
        <p:sp>
          <p:nvSpPr>
            <p:cNvPr id="13" name="Retângulo 12">
              <a:extLst>
                <a:ext uri="{FF2B5EF4-FFF2-40B4-BE49-F238E27FC236}">
                  <a16:creationId xmlns:a16="http://schemas.microsoft.com/office/drawing/2014/main" id="{8DE5E739-C392-4C2D-808E-653267254AE8}"/>
                </a:ext>
              </a:extLst>
            </p:cNvPr>
            <p:cNvSpPr/>
            <p:nvPr/>
          </p:nvSpPr>
          <p:spPr>
            <a:xfrm>
              <a:off x="853134" y="5953603"/>
              <a:ext cx="4502387" cy="400110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pt-BR" sz="2000" b="1" cap="none" spc="0" dirty="0">
                  <a:ln w="9525">
                    <a:solidFill>
                      <a:schemeClr val="bg1"/>
                    </a:solidFill>
                    <a:prstDash val="solid"/>
                  </a:ln>
                  <a:solidFill>
                    <a:schemeClr val="accent5"/>
                  </a:solidFill>
                  <a:effectLst>
                    <a:outerShdw blurRad="12700" dist="38100" dir="2700000" algn="tl" rotWithShape="0">
                      <a:schemeClr val="accent5">
                        <a:lumMod val="60000"/>
                        <a:lumOff val="40000"/>
                      </a:schemeClr>
                    </a:outerShdw>
                  </a:effectLst>
                </a:rPr>
                <a:t>- U.S. Energy </a:t>
              </a:r>
              <a:r>
                <a:rPr lang="pt-BR" sz="2000" b="1" cap="none" spc="0" dirty="0" err="1">
                  <a:ln w="9525">
                    <a:solidFill>
                      <a:schemeClr val="bg1"/>
                    </a:solidFill>
                    <a:prstDash val="solid"/>
                  </a:ln>
                  <a:solidFill>
                    <a:schemeClr val="accent5"/>
                  </a:solidFill>
                  <a:effectLst>
                    <a:outerShdw blurRad="12700" dist="38100" dir="2700000" algn="tl" rotWithShape="0">
                      <a:schemeClr val="accent5">
                        <a:lumMod val="60000"/>
                        <a:lumOff val="40000"/>
                      </a:schemeClr>
                    </a:outerShdw>
                  </a:effectLst>
                </a:rPr>
                <a:t>Information</a:t>
              </a:r>
              <a:r>
                <a:rPr lang="pt-BR" sz="2000" b="1" cap="none" spc="0" dirty="0">
                  <a:ln w="9525">
                    <a:solidFill>
                      <a:schemeClr val="bg1"/>
                    </a:solidFill>
                    <a:prstDash val="solid"/>
                  </a:ln>
                  <a:solidFill>
                    <a:schemeClr val="accent5"/>
                  </a:solidFill>
                  <a:effectLst>
                    <a:outerShdw blurRad="12700" dist="38100" dir="2700000" algn="tl" rotWithShape="0">
                      <a:schemeClr val="accent5">
                        <a:lumMod val="60000"/>
                        <a:lumOff val="40000"/>
                      </a:schemeClr>
                    </a:outerShdw>
                  </a:effectLst>
                </a:rPr>
                <a:t> </a:t>
              </a:r>
              <a:r>
                <a:rPr lang="pt-BR" sz="2000" b="1" cap="none" spc="0" dirty="0" err="1">
                  <a:ln w="9525">
                    <a:solidFill>
                      <a:schemeClr val="bg1"/>
                    </a:solidFill>
                    <a:prstDash val="solid"/>
                  </a:ln>
                  <a:solidFill>
                    <a:schemeClr val="accent5"/>
                  </a:solidFill>
                  <a:effectLst>
                    <a:outerShdw blurRad="12700" dist="38100" dir="2700000" algn="tl" rotWithShape="0">
                      <a:schemeClr val="accent5">
                        <a:lumMod val="60000"/>
                        <a:lumOff val="40000"/>
                      </a:schemeClr>
                    </a:outerShdw>
                  </a:effectLst>
                </a:rPr>
                <a:t>Administration</a:t>
              </a:r>
              <a:endParaRPr lang="pt-BR" sz="2000" b="1" cap="none" spc="0" dirty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accent5"/>
                </a:solidFill>
                <a:effectLst>
                  <a:outerShdw blurRad="12700" dist="38100" dir="2700000" algn="tl" rotWithShape="0">
                    <a:schemeClr val="accent5">
                      <a:lumMod val="60000"/>
                      <a:lumOff val="40000"/>
                    </a:schemeClr>
                  </a:outerShdw>
                </a:effectLst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1080942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Gráfico 3">
            <a:extLst>
              <a:ext uri="{FF2B5EF4-FFF2-40B4-BE49-F238E27FC236}">
                <a16:creationId xmlns:a16="http://schemas.microsoft.com/office/drawing/2014/main" id="{CCCBAC95-7D83-4C31-A89C-8593A633817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22200898"/>
              </p:ext>
            </p:extLst>
          </p:nvPr>
        </p:nvGraphicFramePr>
        <p:xfrm>
          <a:off x="651220" y="997537"/>
          <a:ext cx="10583812" cy="51746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CaixaDeTexto 1">
            <a:extLst>
              <a:ext uri="{FF2B5EF4-FFF2-40B4-BE49-F238E27FC236}">
                <a16:creationId xmlns:a16="http://schemas.microsoft.com/office/drawing/2014/main" id="{CE9BD1A6-CAA7-45B3-9A3D-3FF7C61BFD54}"/>
              </a:ext>
            </a:extLst>
          </p:cNvPr>
          <p:cNvSpPr txBox="1"/>
          <p:nvPr/>
        </p:nvSpPr>
        <p:spPr>
          <a:xfrm>
            <a:off x="759456" y="6018312"/>
            <a:ext cx="10673088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en-US" sz="1400" b="1" dirty="0"/>
              <a:t>1998           2000          2002          2004           2006          2008          2010          2012          2014          2016          2018          2020          2022          2024</a:t>
            </a:r>
          </a:p>
        </p:txBody>
      </p:sp>
      <p:sp>
        <p:nvSpPr>
          <p:cNvPr id="6" name="Rectangle 9">
            <a:extLst>
              <a:ext uri="{FF2B5EF4-FFF2-40B4-BE49-F238E27FC236}">
                <a16:creationId xmlns:a16="http://schemas.microsoft.com/office/drawing/2014/main" id="{FA61A0B7-33F1-40F9-A518-AB777959B0A7}"/>
              </a:ext>
            </a:extLst>
          </p:cNvPr>
          <p:cNvSpPr txBox="1">
            <a:spLocks noChangeArrowheads="1"/>
          </p:cNvSpPr>
          <p:nvPr/>
        </p:nvSpPr>
        <p:spPr>
          <a:xfrm>
            <a:off x="503239" y="316381"/>
            <a:ext cx="7880350" cy="56738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 vert="horz" wrap="square" lIns="91428" tIns="45714" rIns="91428" bIns="45714" numCol="1" anchor="t" anchorCtr="0" compatLnSpc="1">
            <a:prstTxWarp prst="textNoShape">
              <a:avLst/>
            </a:prstTxWarp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777875">
              <a:lnSpc>
                <a:spcPct val="85000"/>
              </a:lnSpc>
            </a:pPr>
            <a:r>
              <a:rPr lang="pt-BR" altLang="pt-BR" sz="3600" b="1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Evolução do preço do Petróleo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7970C864-5C34-456E-B689-0FE05D5734F8}"/>
              </a:ext>
            </a:extLst>
          </p:cNvPr>
          <p:cNvSpPr txBox="1"/>
          <p:nvPr/>
        </p:nvSpPr>
        <p:spPr>
          <a:xfrm>
            <a:off x="4042721" y="1535021"/>
            <a:ext cx="2162869" cy="340519"/>
          </a:xfrm>
          <a:prstGeom prst="roundRect">
            <a:avLst/>
          </a:prstGeom>
          <a:solidFill>
            <a:srgbClr val="FFFF99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 err="1"/>
              <a:t>Colapso</a:t>
            </a:r>
            <a:r>
              <a:rPr lang="en-US" sz="1400" dirty="0"/>
              <a:t> </a:t>
            </a:r>
            <a:r>
              <a:rPr lang="en-US" sz="1400" dirty="0" err="1"/>
              <a:t>Financeiro</a:t>
            </a:r>
            <a:r>
              <a:rPr lang="en-US" sz="1400" dirty="0"/>
              <a:t> Global</a:t>
            </a:r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32CE2E9A-965E-4184-BB2E-1DD1BA2B3917}"/>
              </a:ext>
            </a:extLst>
          </p:cNvPr>
          <p:cNvSpPr txBox="1"/>
          <p:nvPr/>
        </p:nvSpPr>
        <p:spPr>
          <a:xfrm>
            <a:off x="4641572" y="4897217"/>
            <a:ext cx="1301554" cy="578882"/>
          </a:xfrm>
          <a:prstGeom prst="roundRect">
            <a:avLst/>
          </a:prstGeom>
          <a:solidFill>
            <a:srgbClr val="FFFF99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/>
              <a:t>OPEP </a:t>
            </a:r>
            <a:r>
              <a:rPr lang="en-US" sz="1400" dirty="0" err="1"/>
              <a:t>diminui</a:t>
            </a:r>
            <a:r>
              <a:rPr lang="en-US" sz="1400" dirty="0"/>
              <a:t> </a:t>
            </a:r>
            <a:r>
              <a:rPr lang="en-US" sz="1400" dirty="0" err="1"/>
              <a:t>Produção</a:t>
            </a:r>
            <a:endParaRPr lang="en-US" sz="1400" dirty="0"/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5E371F06-E0F6-4ED9-A090-B0478E13E9F9}"/>
              </a:ext>
            </a:extLst>
          </p:cNvPr>
          <p:cNvSpPr txBox="1"/>
          <p:nvPr/>
        </p:nvSpPr>
        <p:spPr>
          <a:xfrm>
            <a:off x="6096000" y="2017114"/>
            <a:ext cx="1486487" cy="340519"/>
          </a:xfrm>
          <a:prstGeom prst="roundRect">
            <a:avLst/>
          </a:prstGeom>
          <a:solidFill>
            <a:srgbClr val="FFFF99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/>
              <a:t>Primavera </a:t>
            </a:r>
            <a:r>
              <a:rPr lang="en-US" sz="1400" dirty="0" err="1"/>
              <a:t>Árabe</a:t>
            </a:r>
            <a:endParaRPr lang="en-US" sz="1400" dirty="0"/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C2267ED1-974B-4E24-A6C5-37762DE79F10}"/>
              </a:ext>
            </a:extLst>
          </p:cNvPr>
          <p:cNvSpPr txBox="1"/>
          <p:nvPr/>
        </p:nvSpPr>
        <p:spPr>
          <a:xfrm>
            <a:off x="6931591" y="4617917"/>
            <a:ext cx="763753" cy="578882"/>
          </a:xfrm>
          <a:prstGeom prst="roundRect">
            <a:avLst/>
          </a:prstGeom>
          <a:solidFill>
            <a:srgbClr val="FFFF99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/>
              <a:t>Shale boom</a:t>
            </a:r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D100F45B-0F57-4825-BC8C-E6B3D5A6B3CA}"/>
              </a:ext>
            </a:extLst>
          </p:cNvPr>
          <p:cNvSpPr txBox="1"/>
          <p:nvPr/>
        </p:nvSpPr>
        <p:spPr>
          <a:xfrm>
            <a:off x="9195371" y="5373944"/>
            <a:ext cx="934948" cy="340519"/>
          </a:xfrm>
          <a:prstGeom prst="roundRect">
            <a:avLst/>
          </a:prstGeom>
          <a:solidFill>
            <a:srgbClr val="FFFF99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/>
              <a:t>COVID-19</a:t>
            </a: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061A4C49-F464-4EB8-AC3D-873C9AC89038}"/>
              </a:ext>
            </a:extLst>
          </p:cNvPr>
          <p:cNvSpPr txBox="1"/>
          <p:nvPr/>
        </p:nvSpPr>
        <p:spPr>
          <a:xfrm>
            <a:off x="9197992" y="2233439"/>
            <a:ext cx="1054974" cy="578882"/>
          </a:xfrm>
          <a:prstGeom prst="roundRect">
            <a:avLst/>
          </a:prstGeom>
          <a:solidFill>
            <a:srgbClr val="FFFF99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/>
              <a:t>Guerra da </a:t>
            </a:r>
            <a:r>
              <a:rPr lang="en-US" sz="1400" dirty="0" err="1"/>
              <a:t>Ucrânia</a:t>
            </a:r>
            <a:endParaRPr lang="en-US" sz="1400" dirty="0"/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BCF68DF9-852D-4C33-A80D-B9C1FA1A4971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020710" y="-489649"/>
            <a:ext cx="3171290" cy="3171290"/>
          </a:xfrm>
          <a:prstGeom prst="rect">
            <a:avLst/>
          </a:prstGeom>
        </p:spPr>
      </p:pic>
      <p:sp>
        <p:nvSpPr>
          <p:cNvPr id="7" name="CaixaDeTexto 6">
            <a:extLst>
              <a:ext uri="{FF2B5EF4-FFF2-40B4-BE49-F238E27FC236}">
                <a16:creationId xmlns:a16="http://schemas.microsoft.com/office/drawing/2014/main" id="{A03A64F1-5442-4941-967B-CD9B14942E1A}"/>
              </a:ext>
            </a:extLst>
          </p:cNvPr>
          <p:cNvSpPr txBox="1"/>
          <p:nvPr/>
        </p:nvSpPr>
        <p:spPr>
          <a:xfrm>
            <a:off x="10628788" y="2851263"/>
            <a:ext cx="47000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800" b="1" dirty="0">
                <a:solidFill>
                  <a:srgbClr val="FF0000"/>
                </a:solidFill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339860896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>
            <a:extLst>
              <a:ext uri="{FF2B5EF4-FFF2-40B4-BE49-F238E27FC236}">
                <a16:creationId xmlns:a16="http://schemas.microsoft.com/office/drawing/2014/main" id="{25ECCA9B-006C-440A-8A06-9572C4D4224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alphaModFix amt="2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/>
                    </a14:imgEffect>
                  </a14:imgLayer>
                </a14:imgProps>
              </a:ext>
            </a:extLst>
          </a:blip>
          <a:srcRect l="12952" t="27029" r="8847" b="2898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AutoShape 2" descr="https://brc-powerpoint.officeapps.live.com/pods/GetClipboardImage.ashx?Id=6cc13e0c-e7d7-40f7-b444-33246b8c1b23&amp;DC=GBR1&amp;pkey=50324ced-9334-4a02-82f4-5439053e76f3&amp;wdwaccluster=GBR1">
            <a:extLst>
              <a:ext uri="{FF2B5EF4-FFF2-40B4-BE49-F238E27FC236}">
                <a16:creationId xmlns:a16="http://schemas.microsoft.com/office/drawing/2014/main" id="{7C0CD447-D856-4B24-9540-A4DE3305BAE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Título 1">
            <a:extLst>
              <a:ext uri="{FF2B5EF4-FFF2-40B4-BE49-F238E27FC236}">
                <a16:creationId xmlns:a16="http://schemas.microsoft.com/office/drawing/2014/main" id="{C73AAD34-B776-4D78-B150-A68379C0A0F7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5364480" cy="109728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72000" algn="l">
              <a:lnSpc>
                <a:spcPct val="150000"/>
              </a:lnSpc>
              <a:spcBef>
                <a:spcPts val="1200"/>
              </a:spcBef>
            </a:pPr>
            <a:r>
              <a:rPr lang="en-US" sz="3600" b="1" dirty="0" err="1">
                <a:solidFill>
                  <a:schemeClr val="accent1">
                    <a:lumMod val="75000"/>
                  </a:schemeClr>
                </a:solidFill>
                <a:latin typeface="+mn-lt"/>
              </a:rPr>
              <a:t>Condicionantes</a:t>
            </a:r>
            <a:r>
              <a:rPr lang="en-US" sz="3600" b="1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 </a:t>
            </a:r>
            <a:r>
              <a:rPr lang="en-US" sz="3600" b="1" dirty="0" err="1">
                <a:solidFill>
                  <a:schemeClr val="accent1">
                    <a:lumMod val="75000"/>
                  </a:schemeClr>
                </a:solidFill>
                <a:latin typeface="+mn-lt"/>
              </a:rPr>
              <a:t>Externas</a:t>
            </a:r>
            <a:endParaRPr lang="en-US" sz="3600" b="1" dirty="0">
              <a:solidFill>
                <a:schemeClr val="accent1">
                  <a:lumMod val="75000"/>
                </a:schemeClr>
              </a:solidFill>
              <a:latin typeface="+mn-lt"/>
            </a:endParaRP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97DA8054-0F54-40D6-B554-C3842A3FE54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07948" y="9000"/>
            <a:ext cx="3784052" cy="3420000"/>
          </a:xfrm>
          <a:prstGeom prst="rect">
            <a:avLst/>
          </a:prstGeom>
        </p:spPr>
      </p:pic>
      <p:pic>
        <p:nvPicPr>
          <p:cNvPr id="2" name="Imagem 1">
            <a:extLst>
              <a:ext uri="{FF2B5EF4-FFF2-40B4-BE49-F238E27FC236}">
                <a16:creationId xmlns:a16="http://schemas.microsoft.com/office/drawing/2014/main" id="{FC2ED875-E08C-681D-E327-76A26028F0EF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611120" y="741680"/>
            <a:ext cx="5679440" cy="5679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563057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8898" name="Rectangle 2">
            <a:extLst>
              <a:ext uri="{FF2B5EF4-FFF2-40B4-BE49-F238E27FC236}">
                <a16:creationId xmlns:a16="http://schemas.microsoft.com/office/drawing/2014/main" id="{E1A4F4D0-4E53-4558-A698-485A71E3CA31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470694" y="253999"/>
            <a:ext cx="6489700" cy="567387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 vert="horz" wrap="square" lIns="91428" tIns="45714" rIns="91428" bIns="45714" numCol="1" anchor="t" anchorCtr="0" compatLnSpc="1">
            <a:prstTxWarp prst="textNoShape">
              <a:avLst/>
            </a:prstTxWarp>
            <a:spAutoFit/>
          </a:bodyPr>
          <a:lstStyle/>
          <a:p>
            <a:pPr defTabSz="777875">
              <a:lnSpc>
                <a:spcPct val="85000"/>
              </a:lnSpc>
            </a:pPr>
            <a:r>
              <a:rPr lang="en-GB" altLang="pt-BR" sz="3600" b="1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E por </a:t>
            </a:r>
            <a:r>
              <a:rPr lang="en-GB" altLang="pt-BR" sz="3600" b="1" dirty="0" err="1">
                <a:solidFill>
                  <a:schemeClr val="accent1">
                    <a:lumMod val="75000"/>
                  </a:schemeClr>
                </a:solidFill>
                <a:latin typeface="+mn-lt"/>
              </a:rPr>
              <a:t>falar</a:t>
            </a:r>
            <a:r>
              <a:rPr lang="en-GB" altLang="pt-BR" sz="3600" b="1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 </a:t>
            </a:r>
            <a:r>
              <a:rPr lang="en-GB" altLang="pt-BR" sz="3600" b="1" dirty="0" err="1">
                <a:solidFill>
                  <a:schemeClr val="accent1">
                    <a:lumMod val="75000"/>
                  </a:schemeClr>
                </a:solidFill>
                <a:latin typeface="+mn-lt"/>
              </a:rPr>
              <a:t>em</a:t>
            </a:r>
            <a:r>
              <a:rPr lang="en-GB" altLang="pt-BR" sz="3600" b="1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 </a:t>
            </a:r>
            <a:r>
              <a:rPr lang="en-GB" altLang="pt-BR" sz="3600" b="1" dirty="0" err="1">
                <a:solidFill>
                  <a:schemeClr val="accent1">
                    <a:lumMod val="75000"/>
                  </a:schemeClr>
                </a:solidFill>
                <a:latin typeface="+mn-lt"/>
              </a:rPr>
              <a:t>risco</a:t>
            </a:r>
            <a:r>
              <a:rPr lang="en-GB" altLang="pt-BR" sz="3600" b="1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 </a:t>
            </a:r>
            <a:r>
              <a:rPr lang="en-GB" altLang="pt-BR" sz="3600" b="1" dirty="0" err="1">
                <a:solidFill>
                  <a:schemeClr val="accent1">
                    <a:lumMod val="75000"/>
                  </a:schemeClr>
                </a:solidFill>
                <a:latin typeface="+mn-lt"/>
              </a:rPr>
              <a:t>ambiental</a:t>
            </a:r>
            <a:r>
              <a:rPr lang="en-GB" altLang="pt-BR" sz="3600" b="1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 …</a:t>
            </a:r>
          </a:p>
        </p:txBody>
      </p:sp>
      <p:pic>
        <p:nvPicPr>
          <p:cNvPr id="208899" name="Picture 3" descr="MVC-085F">
            <a:extLst>
              <a:ext uri="{FF2B5EF4-FFF2-40B4-BE49-F238E27FC236}">
                <a16:creationId xmlns:a16="http://schemas.microsoft.com/office/drawing/2014/main" id="{0137E0A3-F0C1-410C-AB05-EA9424EF83C2}"/>
              </a:ext>
            </a:extLst>
          </p:cNvPr>
          <p:cNvPicPr preferRelativeResize="0">
            <a:picLocks noGrp="1" noChangeAspect="1" noChangeArrowheads="1"/>
          </p:cNvPicPr>
          <p:nvPr>
            <p:ph sz="half"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933499" y="1019984"/>
            <a:ext cx="3074988" cy="2306638"/>
          </a:xfrm>
          <a:noFill/>
          <a:ln w="31750">
            <a:solidFill>
              <a:schemeClr val="bg1"/>
            </a:solidFill>
          </a:ln>
          <a:effectLst>
            <a:outerShdw dist="35921" dir="2700000" algn="ctr" rotWithShape="0">
              <a:srgbClr val="80808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8900" name="Picture 4" descr="MVC-086F">
            <a:extLst>
              <a:ext uri="{FF2B5EF4-FFF2-40B4-BE49-F238E27FC236}">
                <a16:creationId xmlns:a16="http://schemas.microsoft.com/office/drawing/2014/main" id="{BE33DF83-8FDB-4E51-ADCD-CC9312E3AF95}"/>
              </a:ext>
            </a:extLst>
          </p:cNvPr>
          <p:cNvPicPr preferRelativeResize="0">
            <a:picLocks noGrp="1" noChangeAspect="1" noChangeArrowheads="1"/>
          </p:cNvPicPr>
          <p:nvPr>
            <p:ph sz="quarter" idx="2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947788" y="3569510"/>
            <a:ext cx="3648075" cy="2555875"/>
          </a:xfrm>
          <a:noFill/>
          <a:ln w="31750">
            <a:solidFill>
              <a:schemeClr val="bg1"/>
            </a:solidFill>
          </a:ln>
          <a:effectLst>
            <a:outerShdw dist="35921" dir="2700000" algn="ctr" rotWithShape="0">
              <a:srgbClr val="80808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8901" name="Text Box 5">
            <a:extLst>
              <a:ext uri="{FF2B5EF4-FFF2-40B4-BE49-F238E27FC236}">
                <a16:creationId xmlns:a16="http://schemas.microsoft.com/office/drawing/2014/main" id="{76A44936-158D-4E0B-9C4A-0A098EB8EF6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95864" y="1450197"/>
            <a:ext cx="4298948" cy="1617384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txBody>
          <a:bodyPr wrap="square" lIns="77740" tIns="38871" rIns="77740" bIns="38871">
            <a:spAutoFit/>
          </a:bodyPr>
          <a:lstStyle>
            <a:lvl1pPr defTabSz="77787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88938" defTabSz="77787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777875" defTabSz="77787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166813" defTabSz="77787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555750" defTabSz="77787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012950" defTabSz="7778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470150" defTabSz="7778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927350" defTabSz="7778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384550" defTabSz="7778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777875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pt-BR" sz="2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 que </a:t>
            </a:r>
            <a:r>
              <a:rPr kumimoji="0" lang="en-GB" altLang="pt-BR" sz="20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conteceu</a:t>
            </a:r>
            <a:r>
              <a:rPr kumimoji="0" lang="en-GB" altLang="pt-BR" sz="2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com o </a:t>
            </a:r>
            <a:r>
              <a:rPr kumimoji="0" lang="en-GB" altLang="pt-BR" sz="20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obre</a:t>
            </a:r>
            <a:r>
              <a:rPr kumimoji="0" lang="en-GB" altLang="pt-BR" sz="2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en-GB" altLang="pt-BR" sz="20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gerente</a:t>
            </a:r>
            <a:r>
              <a:rPr kumimoji="0" lang="en-GB" altLang="pt-BR" sz="2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do </a:t>
            </a:r>
            <a:r>
              <a:rPr kumimoji="0" lang="en-GB" altLang="pt-BR" sz="20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rojeto</a:t>
            </a:r>
            <a:r>
              <a:rPr kumimoji="0" lang="en-GB" altLang="pt-BR" sz="2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, que se </a:t>
            </a:r>
            <a:r>
              <a:rPr kumimoji="0" lang="en-GB" altLang="pt-BR" sz="20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deparou</a:t>
            </a:r>
            <a:r>
              <a:rPr kumimoji="0" lang="en-GB" altLang="pt-BR" sz="2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com </a:t>
            </a:r>
            <a:r>
              <a:rPr kumimoji="0" lang="en-GB" altLang="pt-BR" sz="20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ssas</a:t>
            </a:r>
            <a:r>
              <a:rPr kumimoji="0" lang="en-GB" altLang="pt-BR" sz="2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en-GB" altLang="pt-BR" sz="20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stranhas</a:t>
            </a:r>
            <a:r>
              <a:rPr kumimoji="0" lang="en-GB" altLang="pt-BR" sz="2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en-GB" altLang="pt-BR" sz="20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riaturas</a:t>
            </a:r>
            <a:r>
              <a:rPr kumimoji="0" lang="en-GB" altLang="pt-BR" sz="2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en-GB" altLang="pt-BR" sz="20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marinhas</a:t>
            </a:r>
            <a:r>
              <a:rPr kumimoji="0" lang="en-GB" altLang="pt-BR" sz="2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“</a:t>
            </a:r>
            <a:r>
              <a:rPr kumimoji="0" lang="en-GB" altLang="pt-BR" sz="20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escadas</a:t>
            </a:r>
            <a:r>
              <a:rPr kumimoji="0" lang="en-GB" altLang="pt-BR" sz="2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” </a:t>
            </a:r>
            <a:r>
              <a:rPr kumimoji="0" lang="en-GB" altLang="pt-BR" sz="20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a</a:t>
            </a:r>
            <a:r>
              <a:rPr kumimoji="0" lang="en-GB" altLang="pt-BR" sz="2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en-GB" altLang="pt-BR" sz="20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gaiola</a:t>
            </a:r>
            <a:r>
              <a:rPr kumimoji="0" lang="en-GB" altLang="pt-BR" sz="2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do ROV ... ?</a:t>
            </a:r>
          </a:p>
        </p:txBody>
      </p:sp>
      <p:grpSp>
        <p:nvGrpSpPr>
          <p:cNvPr id="208902" name="Group 6">
            <a:extLst>
              <a:ext uri="{FF2B5EF4-FFF2-40B4-BE49-F238E27FC236}">
                <a16:creationId xmlns:a16="http://schemas.microsoft.com/office/drawing/2014/main" id="{177DA202-F5F5-436E-A314-4F3D6452FB08}"/>
              </a:ext>
            </a:extLst>
          </p:cNvPr>
          <p:cNvGrpSpPr>
            <a:grpSpLocks/>
          </p:cNvGrpSpPr>
          <p:nvPr/>
        </p:nvGrpSpPr>
        <p:grpSpPr bwMode="auto">
          <a:xfrm>
            <a:off x="6248324" y="3550460"/>
            <a:ext cx="3646488" cy="2543175"/>
            <a:chOff x="3170" y="2450"/>
            <a:chExt cx="2439" cy="1730"/>
          </a:xfrm>
        </p:grpSpPr>
        <p:pic>
          <p:nvPicPr>
            <p:cNvPr id="208903" name="Picture 7" descr="MVC-087F">
              <a:extLst>
                <a:ext uri="{FF2B5EF4-FFF2-40B4-BE49-F238E27FC236}">
                  <a16:creationId xmlns:a16="http://schemas.microsoft.com/office/drawing/2014/main" id="{5BBFA264-3A7C-479B-8CC4-C6B26C27A9F5}"/>
                </a:ext>
              </a:extLst>
            </p:cNvPr>
            <p:cNvPicPr preferRelativeResize="0"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70" y="2450"/>
              <a:ext cx="2439" cy="1730"/>
            </a:xfrm>
            <a:prstGeom prst="rect">
              <a:avLst/>
            </a:prstGeom>
            <a:noFill/>
            <a:ln w="31750">
              <a:solidFill>
                <a:schemeClr val="bg1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08904" name="Line 8">
              <a:extLst>
                <a:ext uri="{FF2B5EF4-FFF2-40B4-BE49-F238E27FC236}">
                  <a16:creationId xmlns:a16="http://schemas.microsoft.com/office/drawing/2014/main" id="{0A24C13D-3C42-4652-87D8-13754FF8A3B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90" y="3036"/>
              <a:ext cx="490" cy="9"/>
            </a:xfrm>
            <a:prstGeom prst="line">
              <a:avLst/>
            </a:prstGeom>
            <a:noFill/>
            <a:ln w="31750">
              <a:solidFill>
                <a:schemeClr val="bg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96314281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2498" name="Picture 2" descr="MVC-073F">
            <a:extLst>
              <a:ext uri="{FF2B5EF4-FFF2-40B4-BE49-F238E27FC236}">
                <a16:creationId xmlns:a16="http://schemas.microsoft.com/office/drawing/2014/main" id="{DCEC20AD-646F-44BC-8969-81D745A5AE4B}"/>
              </a:ext>
            </a:extLst>
          </p:cNvPr>
          <p:cNvPicPr>
            <a:picLocks noGrp="1" noChangeAspect="1" noChangeArrowheads="1"/>
          </p:cNvPicPr>
          <p:nvPr>
            <p:ph sz="half"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95550" y="1100138"/>
            <a:ext cx="6605920" cy="5201418"/>
          </a:xfrm>
          <a:noFill/>
          <a:ln w="31750">
            <a:solidFill>
              <a:schemeClr val="bg1"/>
            </a:solidFill>
          </a:ln>
          <a:effectLst>
            <a:outerShdw dist="35921" dir="2700000" algn="ctr" rotWithShape="0">
              <a:srgbClr val="80808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2500" name="AutoShape 4">
            <a:extLst>
              <a:ext uri="{FF2B5EF4-FFF2-40B4-BE49-F238E27FC236}">
                <a16:creationId xmlns:a16="http://schemas.microsoft.com/office/drawing/2014/main" id="{940DFF27-AF9E-4E99-B75B-D443F022546F}"/>
              </a:ext>
            </a:extLst>
          </p:cNvPr>
          <p:cNvSpPr>
            <a:spLocks noChangeArrowheads="1"/>
          </p:cNvSpPr>
          <p:nvPr/>
        </p:nvSpPr>
        <p:spPr bwMode="auto">
          <a:xfrm rot="20771300">
            <a:off x="6437640" y="4452903"/>
            <a:ext cx="2554287" cy="707400"/>
          </a:xfrm>
          <a:prstGeom prst="leftArrow">
            <a:avLst>
              <a:gd name="adj1" fmla="val 50000"/>
              <a:gd name="adj2" fmla="val 54212"/>
            </a:avLst>
          </a:prstGeom>
          <a:solidFill>
            <a:srgbClr val="FFFF00"/>
          </a:solidFill>
          <a:ln w="50800">
            <a:solidFill>
              <a:schemeClr val="tx1"/>
            </a:solidFill>
            <a:miter lim="800000"/>
            <a:headEnd/>
            <a:tailEnd/>
          </a:ln>
          <a:effectLst>
            <a:outerShdw dist="107763" dir="2700000" algn="ctr" rotWithShape="0">
              <a:schemeClr val="bg2">
                <a:alpha val="50000"/>
              </a:schemeClr>
            </a:outerShdw>
          </a:effectLst>
        </p:spPr>
        <p:txBody>
          <a:bodyPr lIns="91428" tIns="45714" rIns="91428" bIns="45714">
            <a:spAutoFit/>
          </a:bodyPr>
          <a:lstStyle>
            <a:lvl1pPr defTabSz="77787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88938" defTabSz="77787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777875" defTabSz="77787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166813" defTabSz="77787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555750" defTabSz="77787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012950" defTabSz="7778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470150" defTabSz="7778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927350" defTabSz="7778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384550" defTabSz="7778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777875" rtl="0" eaLnBrk="1" fontAlgn="base" latinLnBrk="0" hangingPunct="1">
              <a:lnSpc>
                <a:spcPct val="85000"/>
              </a:lnSpc>
              <a:spcBef>
                <a:spcPct val="2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altLang="pt-BR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Risco</a:t>
            </a:r>
            <a:r>
              <a:rPr kumimoji="0" lang="pt-BR" altLang="pt-BR" sz="20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 mitigado</a:t>
            </a:r>
            <a:endParaRPr kumimoji="0" lang="pt-BR" altLang="pt-BR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</p:txBody>
      </p:sp>
      <p:sp>
        <p:nvSpPr>
          <p:cNvPr id="5" name="Rectangle 2">
            <a:extLst>
              <a:ext uri="{FF2B5EF4-FFF2-40B4-BE49-F238E27FC236}">
                <a16:creationId xmlns:a16="http://schemas.microsoft.com/office/drawing/2014/main" id="{DACC80E8-79B0-4684-B63F-0DEB138CD0D7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470694" y="253999"/>
            <a:ext cx="6812608" cy="567387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 vert="horz" wrap="square" lIns="91428" tIns="45714" rIns="91428" bIns="45714" numCol="1" anchor="t" anchorCtr="0" compatLnSpc="1">
            <a:prstTxWarp prst="textNoShape">
              <a:avLst/>
            </a:prstTxWarp>
            <a:spAutoFit/>
          </a:bodyPr>
          <a:lstStyle/>
          <a:p>
            <a:pPr defTabSz="777875">
              <a:lnSpc>
                <a:spcPct val="85000"/>
              </a:lnSpc>
            </a:pPr>
            <a:r>
              <a:rPr lang="en-GB" altLang="pt-BR" sz="3600" b="1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2 Horas </a:t>
            </a:r>
            <a:r>
              <a:rPr lang="en-GB" altLang="pt-BR" sz="3600" b="1" dirty="0" err="1">
                <a:solidFill>
                  <a:schemeClr val="accent1">
                    <a:lumMod val="75000"/>
                  </a:schemeClr>
                </a:solidFill>
                <a:latin typeface="+mn-lt"/>
              </a:rPr>
              <a:t>mais</a:t>
            </a:r>
            <a:r>
              <a:rPr lang="en-GB" altLang="pt-BR" sz="3600" b="1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 </a:t>
            </a:r>
            <a:r>
              <a:rPr lang="en-GB" altLang="pt-BR" sz="3600" b="1" dirty="0" err="1">
                <a:solidFill>
                  <a:schemeClr val="accent1">
                    <a:lumMod val="75000"/>
                  </a:schemeClr>
                </a:solidFill>
                <a:latin typeface="+mn-lt"/>
              </a:rPr>
              <a:t>tarde</a:t>
            </a:r>
            <a:r>
              <a:rPr lang="en-GB" altLang="pt-BR" sz="3600" b="1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, no </a:t>
            </a:r>
            <a:r>
              <a:rPr lang="en-GB" altLang="pt-BR" sz="3600" b="1" dirty="0" err="1">
                <a:solidFill>
                  <a:schemeClr val="accent1">
                    <a:lumMod val="75000"/>
                  </a:schemeClr>
                </a:solidFill>
                <a:latin typeface="+mn-lt"/>
              </a:rPr>
              <a:t>refeitório</a:t>
            </a:r>
            <a:r>
              <a:rPr lang="en-GB" altLang="pt-BR" sz="3600" b="1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10890475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7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25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2500" fill="hold"/>
                                        <p:tgtEl>
                                          <p:spTgt spid="36250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2500" fill="hold"/>
                                        <p:tgtEl>
                                          <p:spTgt spid="36250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2500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" name="Agrupar 48">
            <a:extLst>
              <a:ext uri="{FF2B5EF4-FFF2-40B4-BE49-F238E27FC236}">
                <a16:creationId xmlns:a16="http://schemas.microsoft.com/office/drawing/2014/main" id="{3300E863-A801-4A64-B4ED-76DB167B6343}"/>
              </a:ext>
            </a:extLst>
          </p:cNvPr>
          <p:cNvGrpSpPr>
            <a:grpSpLocks noChangeAspect="1"/>
          </p:cNvGrpSpPr>
          <p:nvPr/>
        </p:nvGrpSpPr>
        <p:grpSpPr>
          <a:xfrm>
            <a:off x="5937683" y="4513120"/>
            <a:ext cx="1620000" cy="1620000"/>
            <a:chOff x="2967204" y="2424312"/>
            <a:chExt cx="1956132" cy="1697007"/>
          </a:xfrm>
        </p:grpSpPr>
        <p:sp>
          <p:nvSpPr>
            <p:cNvPr id="32" name="Elipse 31">
              <a:extLst>
                <a:ext uri="{FF2B5EF4-FFF2-40B4-BE49-F238E27FC236}">
                  <a16:creationId xmlns:a16="http://schemas.microsoft.com/office/drawing/2014/main" id="{D41AA1AA-B80E-46B1-BC42-A8E97C257F71}"/>
                </a:ext>
              </a:extLst>
            </p:cNvPr>
            <p:cNvSpPr/>
            <p:nvPr/>
          </p:nvSpPr>
          <p:spPr>
            <a:xfrm>
              <a:off x="2967204" y="2424312"/>
              <a:ext cx="1956132" cy="1697007"/>
            </a:xfrm>
            <a:prstGeom prst="ellipse">
              <a:avLst/>
            </a:prstGeom>
            <a:solidFill>
              <a:schemeClr val="accent1">
                <a:lumMod val="60000"/>
                <a:lumOff val="40000"/>
                <a:alpha val="50000"/>
              </a:schemeClr>
            </a:solidFill>
            <a:effectLst>
              <a:innerShdw dist="101600" dir="7740000">
                <a:srgbClr val="FF0000">
                  <a:alpha val="50000"/>
                </a:srgbClr>
              </a:innerShdw>
            </a:effectLst>
            <a:scene3d>
              <a:camera prst="orthographicFront"/>
              <a:lightRig rig="threePt" dir="t"/>
            </a:scene3d>
            <a:sp3d>
              <a:bevelT w="127000" h="1270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1" name="Gráfico 10" descr="Crescimento da Empresa">
              <a:extLst>
                <a:ext uri="{FF2B5EF4-FFF2-40B4-BE49-F238E27FC236}">
                  <a16:creationId xmlns:a16="http://schemas.microsoft.com/office/drawing/2014/main" id="{32D8AEC4-37A2-4B45-9921-A4923741D4A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3507916" y="2883805"/>
              <a:ext cx="900000" cy="900000"/>
            </a:xfrm>
            <a:prstGeom prst="rect">
              <a:avLst/>
            </a:prstGeom>
          </p:spPr>
        </p:pic>
        <p:sp>
          <p:nvSpPr>
            <p:cNvPr id="17" name="CaixaDeTexto 16">
              <a:extLst>
                <a:ext uri="{FF2B5EF4-FFF2-40B4-BE49-F238E27FC236}">
                  <a16:creationId xmlns:a16="http://schemas.microsoft.com/office/drawing/2014/main" id="{C8307E0B-903E-44B7-B3F0-069BD963C9CC}"/>
                </a:ext>
              </a:extLst>
            </p:cNvPr>
            <p:cNvSpPr txBox="1"/>
            <p:nvPr/>
          </p:nvSpPr>
          <p:spPr>
            <a:xfrm>
              <a:off x="3315249" y="2593348"/>
              <a:ext cx="1218145" cy="37847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dirty="0" err="1">
                  <a:solidFill>
                    <a:srgbClr val="6666FF"/>
                  </a:solidFill>
                </a:rPr>
                <a:t>Recursos</a:t>
              </a:r>
              <a:endParaRPr lang="en-US" b="1" dirty="0">
                <a:solidFill>
                  <a:srgbClr val="6666FF"/>
                </a:solidFill>
              </a:endParaRPr>
            </a:p>
          </p:txBody>
        </p:sp>
      </p:grpSp>
      <p:grpSp>
        <p:nvGrpSpPr>
          <p:cNvPr id="48" name="Agrupar 47">
            <a:extLst>
              <a:ext uri="{FF2B5EF4-FFF2-40B4-BE49-F238E27FC236}">
                <a16:creationId xmlns:a16="http://schemas.microsoft.com/office/drawing/2014/main" id="{3CCD46DB-CB69-4E0F-8060-B48140A2CE6B}"/>
              </a:ext>
            </a:extLst>
          </p:cNvPr>
          <p:cNvGrpSpPr>
            <a:grpSpLocks noChangeAspect="1"/>
          </p:cNvGrpSpPr>
          <p:nvPr/>
        </p:nvGrpSpPr>
        <p:grpSpPr>
          <a:xfrm>
            <a:off x="3145139" y="2560792"/>
            <a:ext cx="1620000" cy="1619999"/>
            <a:chOff x="3388351" y="3773524"/>
            <a:chExt cx="1956132" cy="1697007"/>
          </a:xfrm>
        </p:grpSpPr>
        <p:sp>
          <p:nvSpPr>
            <p:cNvPr id="35" name="Elipse 34">
              <a:extLst>
                <a:ext uri="{FF2B5EF4-FFF2-40B4-BE49-F238E27FC236}">
                  <a16:creationId xmlns:a16="http://schemas.microsoft.com/office/drawing/2014/main" id="{F5728DC1-216E-410F-9BFF-F392A12D0FE2}"/>
                </a:ext>
              </a:extLst>
            </p:cNvPr>
            <p:cNvSpPr/>
            <p:nvPr/>
          </p:nvSpPr>
          <p:spPr>
            <a:xfrm>
              <a:off x="3388351" y="3773524"/>
              <a:ext cx="1956132" cy="1697007"/>
            </a:xfrm>
            <a:prstGeom prst="ellipse">
              <a:avLst/>
            </a:prstGeom>
            <a:solidFill>
              <a:schemeClr val="accent6">
                <a:lumMod val="50000"/>
                <a:alpha val="50000"/>
              </a:schemeClr>
            </a:solidFill>
            <a:effectLst>
              <a:innerShdw dist="101600" dir="7740000">
                <a:srgbClr val="FF0000">
                  <a:alpha val="50000"/>
                </a:srgbClr>
              </a:innerShdw>
            </a:effectLst>
            <a:scene3d>
              <a:camera prst="orthographicFront"/>
              <a:lightRig rig="threePt" dir="t"/>
            </a:scene3d>
            <a:sp3d>
              <a:bevelT w="127000" h="1270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9" name="Gráfico 8" descr="Marketing">
              <a:extLst>
                <a:ext uri="{FF2B5EF4-FFF2-40B4-BE49-F238E27FC236}">
                  <a16:creationId xmlns:a16="http://schemas.microsoft.com/office/drawing/2014/main" id="{3F298CEC-6FD6-46FC-9387-A9062169B25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937777" y="4378555"/>
              <a:ext cx="899999" cy="900000"/>
            </a:xfrm>
            <a:prstGeom prst="rect">
              <a:avLst/>
            </a:prstGeom>
          </p:spPr>
        </p:pic>
        <p:sp>
          <p:nvSpPr>
            <p:cNvPr id="18" name="CaixaDeTexto 17">
              <a:extLst>
                <a:ext uri="{FF2B5EF4-FFF2-40B4-BE49-F238E27FC236}">
                  <a16:creationId xmlns:a16="http://schemas.microsoft.com/office/drawing/2014/main" id="{D9CE8037-32BC-4E0E-AE08-5F937F6EB69E}"/>
                </a:ext>
              </a:extLst>
            </p:cNvPr>
            <p:cNvSpPr txBox="1"/>
            <p:nvPr/>
          </p:nvSpPr>
          <p:spPr>
            <a:xfrm>
              <a:off x="3469755" y="4102151"/>
              <a:ext cx="1836042" cy="37847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omunicações</a:t>
              </a:r>
              <a:endParaRPr lang="en-US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46" name="Agrupar 45">
            <a:extLst>
              <a:ext uri="{FF2B5EF4-FFF2-40B4-BE49-F238E27FC236}">
                <a16:creationId xmlns:a16="http://schemas.microsoft.com/office/drawing/2014/main" id="{31E17221-9C38-4914-AA1D-A0867EA9F3E1}"/>
              </a:ext>
            </a:extLst>
          </p:cNvPr>
          <p:cNvGrpSpPr>
            <a:grpSpLocks noChangeAspect="1"/>
          </p:cNvGrpSpPr>
          <p:nvPr/>
        </p:nvGrpSpPr>
        <p:grpSpPr>
          <a:xfrm>
            <a:off x="6978494" y="3765631"/>
            <a:ext cx="1620000" cy="1620000"/>
            <a:chOff x="5784632" y="4562889"/>
            <a:chExt cx="1956132" cy="1697007"/>
          </a:xfrm>
        </p:grpSpPr>
        <p:sp>
          <p:nvSpPr>
            <p:cNvPr id="31" name="Elipse 30">
              <a:extLst>
                <a:ext uri="{FF2B5EF4-FFF2-40B4-BE49-F238E27FC236}">
                  <a16:creationId xmlns:a16="http://schemas.microsoft.com/office/drawing/2014/main" id="{623E77EC-0B1D-4D79-AF28-0FE6682DD7B0}"/>
                </a:ext>
              </a:extLst>
            </p:cNvPr>
            <p:cNvSpPr/>
            <p:nvPr/>
          </p:nvSpPr>
          <p:spPr>
            <a:xfrm>
              <a:off x="5784632" y="4562889"/>
              <a:ext cx="1956132" cy="1697007"/>
            </a:xfrm>
            <a:prstGeom prst="ellipse">
              <a:avLst/>
            </a:prstGeom>
            <a:solidFill>
              <a:schemeClr val="accent2">
                <a:lumMod val="50000"/>
                <a:alpha val="50000"/>
              </a:schemeClr>
            </a:solidFill>
            <a:effectLst>
              <a:innerShdw dist="101600" dir="7740000">
                <a:srgbClr val="FF0000">
                  <a:alpha val="50000"/>
                </a:srgbClr>
              </a:innerShdw>
            </a:effectLst>
            <a:scene3d>
              <a:camera prst="orthographicFront"/>
              <a:lightRig rig="threePt" dir="t"/>
            </a:scene3d>
            <a:sp3d>
              <a:bevelT w="127000" h="1270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7" name="Gráfico 6" descr="Moedas">
              <a:extLst>
                <a:ext uri="{FF2B5EF4-FFF2-40B4-BE49-F238E27FC236}">
                  <a16:creationId xmlns:a16="http://schemas.microsoft.com/office/drawing/2014/main" id="{47E33051-0431-4D2C-89CB-C4A96D948A1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6319225" y="5172076"/>
              <a:ext cx="900000" cy="900000"/>
            </a:xfrm>
            <a:prstGeom prst="rect">
              <a:avLst/>
            </a:prstGeom>
          </p:spPr>
        </p:pic>
        <p:sp>
          <p:nvSpPr>
            <p:cNvPr id="20" name="CaixaDeTexto 19">
              <a:extLst>
                <a:ext uri="{FF2B5EF4-FFF2-40B4-BE49-F238E27FC236}">
                  <a16:creationId xmlns:a16="http://schemas.microsoft.com/office/drawing/2014/main" id="{692B443D-3AAE-4C83-906E-8F25EE7770BB}"/>
                </a:ext>
              </a:extLst>
            </p:cNvPr>
            <p:cNvSpPr txBox="1"/>
            <p:nvPr/>
          </p:nvSpPr>
          <p:spPr>
            <a:xfrm>
              <a:off x="6260136" y="4881072"/>
              <a:ext cx="958506" cy="37847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dirty="0">
                  <a:solidFill>
                    <a:srgbClr val="0070C0"/>
                  </a:solidFill>
                </a:rPr>
                <a:t>Custos</a:t>
              </a:r>
            </a:p>
          </p:txBody>
        </p:sp>
      </p:grpSp>
      <p:grpSp>
        <p:nvGrpSpPr>
          <p:cNvPr id="44" name="Agrupar 43">
            <a:extLst>
              <a:ext uri="{FF2B5EF4-FFF2-40B4-BE49-F238E27FC236}">
                <a16:creationId xmlns:a16="http://schemas.microsoft.com/office/drawing/2014/main" id="{AEF00CAF-F47D-4C77-8610-E6F894E2D880}"/>
              </a:ext>
            </a:extLst>
          </p:cNvPr>
          <p:cNvGrpSpPr>
            <a:grpSpLocks noChangeAspect="1"/>
          </p:cNvGrpSpPr>
          <p:nvPr/>
        </p:nvGrpSpPr>
        <p:grpSpPr>
          <a:xfrm>
            <a:off x="5146910" y="991896"/>
            <a:ext cx="1620000" cy="1620000"/>
            <a:chOff x="6656154" y="3748921"/>
            <a:chExt cx="1956132" cy="1697007"/>
          </a:xfrm>
        </p:grpSpPr>
        <p:sp>
          <p:nvSpPr>
            <p:cNvPr id="37" name="Elipse 36">
              <a:extLst>
                <a:ext uri="{FF2B5EF4-FFF2-40B4-BE49-F238E27FC236}">
                  <a16:creationId xmlns:a16="http://schemas.microsoft.com/office/drawing/2014/main" id="{4E69F389-5865-41E5-95B7-E5260CA1F6E3}"/>
                </a:ext>
              </a:extLst>
            </p:cNvPr>
            <p:cNvSpPr/>
            <p:nvPr/>
          </p:nvSpPr>
          <p:spPr>
            <a:xfrm>
              <a:off x="6656154" y="3748921"/>
              <a:ext cx="1956132" cy="1697007"/>
            </a:xfrm>
            <a:prstGeom prst="ellipse">
              <a:avLst/>
            </a:prstGeom>
            <a:solidFill>
              <a:srgbClr val="FF0000">
                <a:alpha val="50000"/>
              </a:srgbClr>
            </a:solidFill>
            <a:effectLst>
              <a:innerShdw dist="101600" dir="7740000">
                <a:srgbClr val="FF0000">
                  <a:alpha val="50000"/>
                </a:srgbClr>
              </a:innerShdw>
            </a:effectLst>
            <a:scene3d>
              <a:camera prst="orthographicFront"/>
              <a:lightRig rig="threePt" dir="t"/>
            </a:scene3d>
            <a:sp3d>
              <a:bevelT w="127000" h="1270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3" name="Gráfico 12" descr="Lista de verificação DPE">
              <a:extLst>
                <a:ext uri="{FF2B5EF4-FFF2-40B4-BE49-F238E27FC236}">
                  <a16:creationId xmlns:a16="http://schemas.microsoft.com/office/drawing/2014/main" id="{3430B23F-90FB-4F31-8B1F-8C116BEF945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7184220" y="4305297"/>
              <a:ext cx="900000" cy="900000"/>
            </a:xfrm>
            <a:prstGeom prst="rect">
              <a:avLst/>
            </a:prstGeom>
          </p:spPr>
        </p:pic>
        <p:sp>
          <p:nvSpPr>
            <p:cNvPr id="21" name="CaixaDeTexto 20">
              <a:extLst>
                <a:ext uri="{FF2B5EF4-FFF2-40B4-BE49-F238E27FC236}">
                  <a16:creationId xmlns:a16="http://schemas.microsoft.com/office/drawing/2014/main" id="{65FC8F29-8A37-4971-9A89-559966765D8D}"/>
                </a:ext>
              </a:extLst>
            </p:cNvPr>
            <p:cNvSpPr txBox="1"/>
            <p:nvPr/>
          </p:nvSpPr>
          <p:spPr>
            <a:xfrm>
              <a:off x="7184220" y="3999664"/>
              <a:ext cx="853567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dirty="0" err="1">
                  <a:solidFill>
                    <a:srgbClr val="FF0000"/>
                  </a:solidFill>
                </a:rPr>
                <a:t>Escopo</a:t>
              </a:r>
              <a:endParaRPr lang="en-US" b="1" dirty="0">
                <a:solidFill>
                  <a:srgbClr val="FF0000"/>
                </a:solidFill>
              </a:endParaRPr>
            </a:p>
          </p:txBody>
        </p:sp>
      </p:grpSp>
      <p:grpSp>
        <p:nvGrpSpPr>
          <p:cNvPr id="43" name="Agrupar 42">
            <a:extLst>
              <a:ext uri="{FF2B5EF4-FFF2-40B4-BE49-F238E27FC236}">
                <a16:creationId xmlns:a16="http://schemas.microsoft.com/office/drawing/2014/main" id="{462F32D7-84A7-4A07-8EF6-E8229C522C11}"/>
              </a:ext>
            </a:extLst>
          </p:cNvPr>
          <p:cNvGrpSpPr>
            <a:grpSpLocks noChangeAspect="1"/>
          </p:cNvGrpSpPr>
          <p:nvPr/>
        </p:nvGrpSpPr>
        <p:grpSpPr>
          <a:xfrm>
            <a:off x="3499948" y="3869467"/>
            <a:ext cx="1620000" cy="1620000"/>
            <a:chOff x="6928154" y="2363202"/>
            <a:chExt cx="1956132" cy="1697007"/>
          </a:xfrm>
        </p:grpSpPr>
        <p:sp>
          <p:nvSpPr>
            <p:cNvPr id="36" name="Elipse 35">
              <a:extLst>
                <a:ext uri="{FF2B5EF4-FFF2-40B4-BE49-F238E27FC236}">
                  <a16:creationId xmlns:a16="http://schemas.microsoft.com/office/drawing/2014/main" id="{B06319C7-320A-4E13-9151-48E6235A17A1}"/>
                </a:ext>
              </a:extLst>
            </p:cNvPr>
            <p:cNvSpPr/>
            <p:nvPr/>
          </p:nvSpPr>
          <p:spPr>
            <a:xfrm>
              <a:off x="6928154" y="2363202"/>
              <a:ext cx="1956132" cy="1697007"/>
            </a:xfrm>
            <a:prstGeom prst="ellipse">
              <a:avLst/>
            </a:prstGeom>
            <a:solidFill>
              <a:srgbClr val="FFFF00">
                <a:alpha val="50000"/>
              </a:srgbClr>
            </a:solidFill>
            <a:effectLst>
              <a:innerShdw dist="101600" dir="7740000">
                <a:srgbClr val="FF0000">
                  <a:alpha val="50000"/>
                </a:srgbClr>
              </a:innerShdw>
            </a:effectLst>
            <a:scene3d>
              <a:camera prst="orthographicFront"/>
              <a:lightRig rig="threePt" dir="t"/>
            </a:scene3d>
            <a:sp3d>
              <a:bevelT w="127000" h="1270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5" name="Gráfico 14" descr="Aviso">
              <a:extLst>
                <a:ext uri="{FF2B5EF4-FFF2-40B4-BE49-F238E27FC236}">
                  <a16:creationId xmlns:a16="http://schemas.microsoft.com/office/drawing/2014/main" id="{6157A012-A724-4C6D-B048-A2BABEA745BE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7456220" y="2889403"/>
              <a:ext cx="900000" cy="900000"/>
            </a:xfrm>
            <a:prstGeom prst="rect">
              <a:avLst/>
            </a:prstGeom>
          </p:spPr>
        </p:pic>
        <p:sp>
          <p:nvSpPr>
            <p:cNvPr id="22" name="CaixaDeTexto 21">
              <a:extLst>
                <a:ext uri="{FF2B5EF4-FFF2-40B4-BE49-F238E27FC236}">
                  <a16:creationId xmlns:a16="http://schemas.microsoft.com/office/drawing/2014/main" id="{50A92B2C-9E69-4765-B137-367D05EF9652}"/>
                </a:ext>
              </a:extLst>
            </p:cNvPr>
            <p:cNvSpPr txBox="1"/>
            <p:nvPr/>
          </p:nvSpPr>
          <p:spPr>
            <a:xfrm>
              <a:off x="7520313" y="2651670"/>
              <a:ext cx="77181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dirty="0" err="1">
                  <a:solidFill>
                    <a:srgbClr val="FF9900"/>
                  </a:solidFill>
                </a:rPr>
                <a:t>Riscos</a:t>
              </a:r>
              <a:endParaRPr lang="en-US" b="1" dirty="0">
                <a:solidFill>
                  <a:srgbClr val="FF9900"/>
                </a:solidFill>
              </a:endParaRPr>
            </a:p>
          </p:txBody>
        </p:sp>
      </p:grpSp>
      <p:grpSp>
        <p:nvGrpSpPr>
          <p:cNvPr id="45" name="Agrupar 44">
            <a:extLst>
              <a:ext uri="{FF2B5EF4-FFF2-40B4-BE49-F238E27FC236}">
                <a16:creationId xmlns:a16="http://schemas.microsoft.com/office/drawing/2014/main" id="{4564C6C4-7CF8-4898-9BAD-986ADA367733}"/>
              </a:ext>
            </a:extLst>
          </p:cNvPr>
          <p:cNvGrpSpPr>
            <a:grpSpLocks noChangeAspect="1"/>
          </p:cNvGrpSpPr>
          <p:nvPr/>
        </p:nvGrpSpPr>
        <p:grpSpPr>
          <a:xfrm>
            <a:off x="7234747" y="2425809"/>
            <a:ext cx="1620000" cy="1620000"/>
            <a:chOff x="6327487" y="1094509"/>
            <a:chExt cx="1956132" cy="1697007"/>
          </a:xfrm>
        </p:grpSpPr>
        <p:sp>
          <p:nvSpPr>
            <p:cNvPr id="34" name="Elipse 33">
              <a:extLst>
                <a:ext uri="{FF2B5EF4-FFF2-40B4-BE49-F238E27FC236}">
                  <a16:creationId xmlns:a16="http://schemas.microsoft.com/office/drawing/2014/main" id="{92F7A378-5B66-4D8D-8650-2502E764F10E}"/>
                </a:ext>
              </a:extLst>
            </p:cNvPr>
            <p:cNvSpPr/>
            <p:nvPr/>
          </p:nvSpPr>
          <p:spPr>
            <a:xfrm>
              <a:off x="6327487" y="1094509"/>
              <a:ext cx="1956132" cy="1697007"/>
            </a:xfrm>
            <a:prstGeom prst="ellipse">
              <a:avLst/>
            </a:prstGeom>
            <a:solidFill>
              <a:schemeClr val="tx1">
                <a:alpha val="50000"/>
              </a:schemeClr>
            </a:solidFill>
            <a:effectLst>
              <a:innerShdw dist="101600" dir="7740000">
                <a:srgbClr val="FF0000">
                  <a:alpha val="50000"/>
                </a:srgbClr>
              </a:innerShdw>
            </a:effectLst>
            <a:scene3d>
              <a:camera prst="orthographicFront"/>
              <a:lightRig rig="threePt" dir="t"/>
            </a:scene3d>
            <a:sp3d>
              <a:bevelT w="127000" h="1270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0" name="Gráfico 9" descr="Régua">
              <a:extLst>
                <a:ext uri="{FF2B5EF4-FFF2-40B4-BE49-F238E27FC236}">
                  <a16:creationId xmlns:a16="http://schemas.microsoft.com/office/drawing/2014/main" id="{EAD17103-1638-4325-B047-3A077050478E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6868720" y="1634220"/>
              <a:ext cx="900000" cy="900000"/>
            </a:xfrm>
            <a:prstGeom prst="rect">
              <a:avLst/>
            </a:prstGeom>
          </p:spPr>
        </p:pic>
        <p:sp>
          <p:nvSpPr>
            <p:cNvPr id="23" name="CaixaDeTexto 22">
              <a:extLst>
                <a:ext uri="{FF2B5EF4-FFF2-40B4-BE49-F238E27FC236}">
                  <a16:creationId xmlns:a16="http://schemas.microsoft.com/office/drawing/2014/main" id="{C79932EA-91EA-4E3E-A365-EBFF129281E3}"/>
                </a:ext>
              </a:extLst>
            </p:cNvPr>
            <p:cNvSpPr txBox="1"/>
            <p:nvPr/>
          </p:nvSpPr>
          <p:spPr>
            <a:xfrm>
              <a:off x="6659588" y="1338393"/>
              <a:ext cx="116891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dirty="0" err="1">
                  <a:solidFill>
                    <a:srgbClr val="FFFF00"/>
                  </a:solidFill>
                </a:rPr>
                <a:t>Qualidade</a:t>
              </a:r>
              <a:endParaRPr lang="en-US" b="1" dirty="0">
                <a:solidFill>
                  <a:srgbClr val="FFFF00"/>
                </a:solidFill>
              </a:endParaRPr>
            </a:p>
          </p:txBody>
        </p:sp>
      </p:grpSp>
      <p:grpSp>
        <p:nvGrpSpPr>
          <p:cNvPr id="51" name="Agrupar 50">
            <a:extLst>
              <a:ext uri="{FF2B5EF4-FFF2-40B4-BE49-F238E27FC236}">
                <a16:creationId xmlns:a16="http://schemas.microsoft.com/office/drawing/2014/main" id="{FBAB0F2C-248C-4512-AC8B-45E5DF2A9AD6}"/>
              </a:ext>
            </a:extLst>
          </p:cNvPr>
          <p:cNvGrpSpPr>
            <a:grpSpLocks noChangeAspect="1"/>
          </p:cNvGrpSpPr>
          <p:nvPr/>
        </p:nvGrpSpPr>
        <p:grpSpPr>
          <a:xfrm>
            <a:off x="4615012" y="4566404"/>
            <a:ext cx="1620000" cy="1620000"/>
            <a:chOff x="5095463" y="524299"/>
            <a:chExt cx="1956132" cy="1697007"/>
          </a:xfrm>
        </p:grpSpPr>
        <p:sp>
          <p:nvSpPr>
            <p:cNvPr id="30" name="Elipse 29">
              <a:extLst>
                <a:ext uri="{FF2B5EF4-FFF2-40B4-BE49-F238E27FC236}">
                  <a16:creationId xmlns:a16="http://schemas.microsoft.com/office/drawing/2014/main" id="{EEDA2415-1905-4BDC-A3E7-37463157B60E}"/>
                </a:ext>
              </a:extLst>
            </p:cNvPr>
            <p:cNvSpPr/>
            <p:nvPr/>
          </p:nvSpPr>
          <p:spPr>
            <a:xfrm>
              <a:off x="5095463" y="524299"/>
              <a:ext cx="1956132" cy="1697007"/>
            </a:xfrm>
            <a:prstGeom prst="ellipse">
              <a:avLst/>
            </a:prstGeom>
            <a:solidFill>
              <a:srgbClr val="7030A0">
                <a:alpha val="50000"/>
              </a:srgbClr>
            </a:solidFill>
            <a:effectLst>
              <a:innerShdw dist="101600" dir="7740000">
                <a:srgbClr val="FF0000">
                  <a:alpha val="50000"/>
                </a:srgbClr>
              </a:innerShdw>
            </a:effectLst>
            <a:scene3d>
              <a:camera prst="orthographicFront"/>
              <a:lightRig rig="threePt" dir="t"/>
            </a:scene3d>
            <a:sp3d>
              <a:bevelT w="127000" h="1270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6" name="Gráfico 5" descr="Código de Barras">
              <a:extLst>
                <a:ext uri="{FF2B5EF4-FFF2-40B4-BE49-F238E27FC236}">
                  <a16:creationId xmlns:a16="http://schemas.microsoft.com/office/drawing/2014/main" id="{6B03F17A-1D1E-498D-92E7-4AEEA406F66F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5623529" y="980711"/>
              <a:ext cx="900000" cy="900000"/>
            </a:xfrm>
            <a:prstGeom prst="rect">
              <a:avLst/>
            </a:prstGeom>
          </p:spPr>
        </p:pic>
        <p:sp>
          <p:nvSpPr>
            <p:cNvPr id="24" name="CaixaDeTexto 23">
              <a:extLst>
                <a:ext uri="{FF2B5EF4-FFF2-40B4-BE49-F238E27FC236}">
                  <a16:creationId xmlns:a16="http://schemas.microsoft.com/office/drawing/2014/main" id="{AA655D4B-3733-4C5C-B1B8-DA521D28EDA4}"/>
                </a:ext>
              </a:extLst>
            </p:cNvPr>
            <p:cNvSpPr txBox="1"/>
            <p:nvPr/>
          </p:nvSpPr>
          <p:spPr>
            <a:xfrm>
              <a:off x="5473621" y="763139"/>
              <a:ext cx="119981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dirty="0" err="1">
                  <a:solidFill>
                    <a:schemeClr val="accent3">
                      <a:lumMod val="50000"/>
                    </a:schemeClr>
                  </a:solidFill>
                </a:rPr>
                <a:t>Aquisições</a:t>
              </a:r>
              <a:endParaRPr lang="en-US" b="1" dirty="0">
                <a:solidFill>
                  <a:schemeClr val="accent3">
                    <a:lumMod val="50000"/>
                  </a:schemeClr>
                </a:solidFill>
              </a:endParaRPr>
            </a:p>
          </p:txBody>
        </p:sp>
      </p:grpSp>
      <p:grpSp>
        <p:nvGrpSpPr>
          <p:cNvPr id="53" name="Agrupar 52">
            <a:extLst>
              <a:ext uri="{FF2B5EF4-FFF2-40B4-BE49-F238E27FC236}">
                <a16:creationId xmlns:a16="http://schemas.microsoft.com/office/drawing/2014/main" id="{96EEBC5C-C1EF-4A11-B5C0-9DC626ECA7F3}"/>
              </a:ext>
            </a:extLst>
          </p:cNvPr>
          <p:cNvGrpSpPr>
            <a:grpSpLocks noChangeAspect="1"/>
          </p:cNvGrpSpPr>
          <p:nvPr/>
        </p:nvGrpSpPr>
        <p:grpSpPr>
          <a:xfrm>
            <a:off x="3872622" y="1429527"/>
            <a:ext cx="1620000" cy="1620000"/>
            <a:chOff x="4320210" y="4645081"/>
            <a:chExt cx="1956132" cy="1697007"/>
          </a:xfrm>
        </p:grpSpPr>
        <p:sp>
          <p:nvSpPr>
            <p:cNvPr id="29" name="Elipse 28">
              <a:extLst>
                <a:ext uri="{FF2B5EF4-FFF2-40B4-BE49-F238E27FC236}">
                  <a16:creationId xmlns:a16="http://schemas.microsoft.com/office/drawing/2014/main" id="{9B2DAF38-4E7B-40B3-BDA9-A467AC27057A}"/>
                </a:ext>
              </a:extLst>
            </p:cNvPr>
            <p:cNvSpPr/>
            <p:nvPr/>
          </p:nvSpPr>
          <p:spPr>
            <a:xfrm>
              <a:off x="4320210" y="4645081"/>
              <a:ext cx="1956132" cy="1697007"/>
            </a:xfrm>
            <a:prstGeom prst="ellipse">
              <a:avLst/>
            </a:prstGeom>
            <a:solidFill>
              <a:srgbClr val="92D050">
                <a:alpha val="50000"/>
              </a:srgbClr>
            </a:solidFill>
            <a:effectLst>
              <a:innerShdw dist="101600" dir="7740000">
                <a:srgbClr val="FF0000">
                  <a:alpha val="50000"/>
                </a:srgbClr>
              </a:innerShdw>
            </a:effectLst>
            <a:scene3d>
              <a:camera prst="orthographicFront"/>
              <a:lightRig rig="threePt" dir="t"/>
            </a:scene3d>
            <a:sp3d>
              <a:bevelT w="127000" h="1270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2" name="Gráfico 11" descr="Aperto de mãos">
              <a:extLst>
                <a:ext uri="{FF2B5EF4-FFF2-40B4-BE49-F238E27FC236}">
                  <a16:creationId xmlns:a16="http://schemas.microsoft.com/office/drawing/2014/main" id="{52A723D0-8158-4B8B-9635-5A4C1CDB9F98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4848276" y="5222634"/>
              <a:ext cx="900000" cy="900000"/>
            </a:xfrm>
            <a:prstGeom prst="rect">
              <a:avLst/>
            </a:prstGeom>
          </p:spPr>
        </p:pic>
        <p:sp>
          <p:nvSpPr>
            <p:cNvPr id="25" name="CaixaDeTexto 24">
              <a:extLst>
                <a:ext uri="{FF2B5EF4-FFF2-40B4-BE49-F238E27FC236}">
                  <a16:creationId xmlns:a16="http://schemas.microsoft.com/office/drawing/2014/main" id="{5F930D40-BEF1-4906-B6F7-3A176B6C5877}"/>
                </a:ext>
              </a:extLst>
            </p:cNvPr>
            <p:cNvSpPr txBox="1"/>
            <p:nvPr/>
          </p:nvSpPr>
          <p:spPr>
            <a:xfrm>
              <a:off x="4492459" y="4977567"/>
              <a:ext cx="1417247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dirty="0">
                  <a:solidFill>
                    <a:srgbClr val="00B050"/>
                  </a:solidFill>
                </a:rPr>
                <a:t>Stakeholders</a:t>
              </a:r>
            </a:p>
          </p:txBody>
        </p:sp>
      </p:grpSp>
      <p:grpSp>
        <p:nvGrpSpPr>
          <p:cNvPr id="50" name="Agrupar 49">
            <a:extLst>
              <a:ext uri="{FF2B5EF4-FFF2-40B4-BE49-F238E27FC236}">
                <a16:creationId xmlns:a16="http://schemas.microsoft.com/office/drawing/2014/main" id="{E9814932-3C03-4207-8BBA-6EA456762FBA}"/>
              </a:ext>
            </a:extLst>
          </p:cNvPr>
          <p:cNvGrpSpPr>
            <a:grpSpLocks noChangeAspect="1"/>
          </p:cNvGrpSpPr>
          <p:nvPr/>
        </p:nvGrpSpPr>
        <p:grpSpPr>
          <a:xfrm>
            <a:off x="6421198" y="1355373"/>
            <a:ext cx="1620000" cy="1620000"/>
            <a:chOff x="3619634" y="1032865"/>
            <a:chExt cx="1956132" cy="1697007"/>
          </a:xfrm>
        </p:grpSpPr>
        <p:sp>
          <p:nvSpPr>
            <p:cNvPr id="33" name="Elipse 32">
              <a:extLst>
                <a:ext uri="{FF2B5EF4-FFF2-40B4-BE49-F238E27FC236}">
                  <a16:creationId xmlns:a16="http://schemas.microsoft.com/office/drawing/2014/main" id="{02C10BA7-8910-4C2C-B3CF-EBD7BC559325}"/>
                </a:ext>
              </a:extLst>
            </p:cNvPr>
            <p:cNvSpPr/>
            <p:nvPr/>
          </p:nvSpPr>
          <p:spPr>
            <a:xfrm>
              <a:off x="3619634" y="1032865"/>
              <a:ext cx="1956132" cy="1697007"/>
            </a:xfrm>
            <a:prstGeom prst="ellipse">
              <a:avLst/>
            </a:prstGeom>
            <a:solidFill>
              <a:schemeClr val="accent1">
                <a:alpha val="50000"/>
              </a:schemeClr>
            </a:solidFill>
            <a:effectLst>
              <a:innerShdw dist="101600" dir="7740000">
                <a:srgbClr val="FF0000">
                  <a:alpha val="50000"/>
                </a:srgbClr>
              </a:innerShdw>
            </a:effectLst>
            <a:scene3d>
              <a:camera prst="orthographicFront"/>
              <a:lightRig rig="threePt" dir="t"/>
            </a:scene3d>
            <a:sp3d>
              <a:bevelT w="127000" h="1270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8" name="Gráfico 7" descr="Ampulheta">
              <a:extLst>
                <a:ext uri="{FF2B5EF4-FFF2-40B4-BE49-F238E27FC236}">
                  <a16:creationId xmlns:a16="http://schemas.microsoft.com/office/drawing/2014/main" id="{07800EEC-ECAB-4081-BBCD-BBAF0B0FB1D0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4147700" y="1562624"/>
              <a:ext cx="900000" cy="900000"/>
            </a:xfrm>
            <a:prstGeom prst="rect">
              <a:avLst/>
            </a:prstGeom>
          </p:spPr>
        </p:pic>
        <p:sp>
          <p:nvSpPr>
            <p:cNvPr id="26" name="CaixaDeTexto 25">
              <a:extLst>
                <a:ext uri="{FF2B5EF4-FFF2-40B4-BE49-F238E27FC236}">
                  <a16:creationId xmlns:a16="http://schemas.microsoft.com/office/drawing/2014/main" id="{BEF17E49-88EA-46C1-BFE4-6D439546A5FB}"/>
                </a:ext>
              </a:extLst>
            </p:cNvPr>
            <p:cNvSpPr txBox="1"/>
            <p:nvPr/>
          </p:nvSpPr>
          <p:spPr>
            <a:xfrm>
              <a:off x="3831148" y="1314998"/>
              <a:ext cx="1602457" cy="37847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dirty="0" err="1">
                  <a:solidFill>
                    <a:schemeClr val="accent1">
                      <a:lumMod val="50000"/>
                    </a:schemeClr>
                  </a:solidFill>
                </a:rPr>
                <a:t>Cronograma</a:t>
              </a:r>
              <a:endParaRPr lang="en-US" b="1" dirty="0">
                <a:solidFill>
                  <a:schemeClr val="accent1">
                    <a:lumMod val="50000"/>
                  </a:schemeClr>
                </a:solidFill>
              </a:endParaRPr>
            </a:p>
          </p:txBody>
        </p:sp>
      </p:grpSp>
      <p:grpSp>
        <p:nvGrpSpPr>
          <p:cNvPr id="16" name="Agrupar 15">
            <a:extLst>
              <a:ext uri="{FF2B5EF4-FFF2-40B4-BE49-F238E27FC236}">
                <a16:creationId xmlns:a16="http://schemas.microsoft.com/office/drawing/2014/main" id="{7825EFB6-17BA-4B93-B6B6-992815DB80CE}"/>
              </a:ext>
            </a:extLst>
          </p:cNvPr>
          <p:cNvGrpSpPr/>
          <p:nvPr/>
        </p:nvGrpSpPr>
        <p:grpSpPr>
          <a:xfrm>
            <a:off x="5177421" y="2821382"/>
            <a:ext cx="1620000" cy="1620000"/>
            <a:chOff x="6039881" y="2636240"/>
            <a:chExt cx="1620000" cy="1620000"/>
          </a:xfrm>
        </p:grpSpPr>
        <p:sp>
          <p:nvSpPr>
            <p:cNvPr id="19" name="CaixaDeTexto 18">
              <a:extLst>
                <a:ext uri="{FF2B5EF4-FFF2-40B4-BE49-F238E27FC236}">
                  <a16:creationId xmlns:a16="http://schemas.microsoft.com/office/drawing/2014/main" id="{D8D8292E-2FAC-4350-8A25-641070781571}"/>
                </a:ext>
              </a:extLst>
            </p:cNvPr>
            <p:cNvSpPr txBox="1"/>
            <p:nvPr/>
          </p:nvSpPr>
          <p:spPr>
            <a:xfrm>
              <a:off x="6039881" y="2636240"/>
              <a:ext cx="1620000" cy="1620000"/>
            </a:xfrm>
            <a:prstGeom prst="ellipse">
              <a:avLst/>
            </a:prstGeom>
            <a:solidFill>
              <a:srgbClr val="00B0F0">
                <a:alpha val="63000"/>
              </a:srgbClr>
            </a:solidFill>
          </p:spPr>
          <p:txBody>
            <a:bodyPr wrap="none" rtlCol="0">
              <a:spAutoFit/>
            </a:bodyPr>
            <a:lstStyle/>
            <a:p>
              <a:r>
                <a:rPr lang="en-US" b="1" dirty="0" err="1">
                  <a:solidFill>
                    <a:schemeClr val="accent1">
                      <a:lumMod val="75000"/>
                    </a:schemeClr>
                  </a:solidFill>
                </a:rPr>
                <a:t>Integração</a:t>
              </a:r>
              <a:endParaRPr lang="en-US" b="1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pic>
          <p:nvPicPr>
            <p:cNvPr id="47" name="Gráfico 46" descr="Peças de quebra-cabeças">
              <a:extLst>
                <a:ext uri="{FF2B5EF4-FFF2-40B4-BE49-F238E27FC236}">
                  <a16:creationId xmlns:a16="http://schemas.microsoft.com/office/drawing/2014/main" id="{8FCAC3AB-6C81-48AF-8049-AC45F6F58D29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6464141" y="3102817"/>
              <a:ext cx="900000" cy="900000"/>
            </a:xfrm>
            <a:prstGeom prst="rect">
              <a:avLst/>
            </a:prstGeom>
          </p:spPr>
        </p:pic>
      </p:grpSp>
      <p:sp>
        <p:nvSpPr>
          <p:cNvPr id="55" name="Rectangle 9">
            <a:extLst>
              <a:ext uri="{FF2B5EF4-FFF2-40B4-BE49-F238E27FC236}">
                <a16:creationId xmlns:a16="http://schemas.microsoft.com/office/drawing/2014/main" id="{57DB8B44-CF6D-4564-A28E-8BA645EEADE0}"/>
              </a:ext>
            </a:extLst>
          </p:cNvPr>
          <p:cNvSpPr txBox="1">
            <a:spLocks noChangeArrowheads="1"/>
          </p:cNvSpPr>
          <p:nvPr/>
        </p:nvSpPr>
        <p:spPr>
          <a:xfrm>
            <a:off x="359402" y="254737"/>
            <a:ext cx="11209745" cy="56738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 vert="horz" wrap="square" lIns="91428" tIns="45714" rIns="91428" bIns="45714" numCol="1" anchor="t" anchorCtr="0" compatLnSpc="1">
            <a:prstTxWarp prst="textNoShape">
              <a:avLst/>
            </a:prstTxWarp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777875">
              <a:lnSpc>
                <a:spcPct val="85000"/>
              </a:lnSpc>
            </a:pPr>
            <a:r>
              <a:rPr lang="pt-BR" altLang="pt-BR" sz="3600" b="1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Áreas de Conhecimento em Gerenciamento de Projetos</a:t>
            </a:r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857747AE-E4B6-BCD2-B85C-0AAA66C985F6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8960515" y="1289563"/>
            <a:ext cx="2608632" cy="949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74811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3">
            <a:extLst>
              <a:ext uri="{FF2B5EF4-FFF2-40B4-BE49-F238E27FC236}">
                <a16:creationId xmlns:a16="http://schemas.microsoft.com/office/drawing/2014/main" id="{09543568-273C-42C4-BAFE-3792E291BE7F}"/>
              </a:ext>
            </a:extLst>
          </p:cNvPr>
          <p:cNvSpPr/>
          <p:nvPr/>
        </p:nvSpPr>
        <p:spPr>
          <a:xfrm>
            <a:off x="0" y="1010926"/>
            <a:ext cx="11788047" cy="4939814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359410">
              <a:buFont typeface="Arial" panose="020B0604020202020204" pitchFamily="34" charset="0"/>
              <a:buChar char="•"/>
            </a:pPr>
            <a:r>
              <a:rPr lang="pt-BR" sz="2400" dirty="0"/>
              <a:t> </a:t>
            </a:r>
            <a:r>
              <a:rPr lang="pt-BR" sz="2400" b="1" dirty="0"/>
              <a:t>Problema </a:t>
            </a:r>
            <a:r>
              <a:rPr lang="pt-BR" sz="2400" dirty="0">
                <a:sym typeface="Wingdings" panose="05000000000000000000" pitchFamily="2" charset="2"/>
              </a:rPr>
              <a:t> Pouca informação gerando riscos:</a:t>
            </a:r>
            <a:endParaRPr lang="pt-BR" dirty="0"/>
          </a:p>
          <a:p>
            <a:pPr marL="816610" lvl="1">
              <a:buFont typeface="Arial" panose="020B0604020202020204" pitchFamily="34" charset="0"/>
              <a:buChar char="•"/>
            </a:pPr>
            <a:r>
              <a:rPr lang="pt-BR" sz="2000" dirty="0"/>
              <a:t> Inexistência da rocha reservatório;</a:t>
            </a:r>
            <a:endParaRPr lang="pt-BR" sz="2000" dirty="0">
              <a:ea typeface="Calibri" panose="020F0502020204030204"/>
              <a:cs typeface="Calibri" panose="020F0502020204030204"/>
            </a:endParaRPr>
          </a:p>
          <a:p>
            <a:pPr marL="816610" lvl="1">
              <a:buFont typeface="Arial" panose="020B0604020202020204" pitchFamily="34" charset="0"/>
              <a:buChar char="•"/>
            </a:pPr>
            <a:r>
              <a:rPr lang="pt-BR" sz="2000" dirty="0"/>
              <a:t> Reservatório sem petróleo (água, CO2, ...)</a:t>
            </a:r>
            <a:endParaRPr lang="pt-BR" sz="2000" dirty="0">
              <a:ea typeface="Calibri" panose="020F0502020204030204"/>
              <a:cs typeface="Calibri" panose="020F0502020204030204"/>
            </a:endParaRPr>
          </a:p>
          <a:p>
            <a:pPr marL="804545">
              <a:buFont typeface="Arial" panose="020B0604020202020204" pitchFamily="34" charset="0"/>
              <a:buChar char="•"/>
            </a:pPr>
            <a:r>
              <a:rPr lang="pt-BR" sz="2000" dirty="0"/>
              <a:t> Volume insuficiente para aproveitamento econômico;</a:t>
            </a:r>
            <a:endParaRPr lang="pt-BR" sz="2000" dirty="0">
              <a:ea typeface="Calibri" panose="020F0502020204030204"/>
              <a:cs typeface="Calibri" panose="020F0502020204030204"/>
            </a:endParaRPr>
          </a:p>
          <a:p>
            <a:pPr marL="804545">
              <a:spcAft>
                <a:spcPts val="3000"/>
              </a:spcAft>
              <a:buFont typeface="Arial" panose="020B0604020202020204" pitchFamily="34" charset="0"/>
              <a:buChar char="•"/>
            </a:pPr>
            <a:r>
              <a:rPr lang="pt-BR" sz="2000" dirty="0"/>
              <a:t> Reservatório com baixa permeabilidade;</a:t>
            </a:r>
            <a:endParaRPr lang="pt-BR" sz="2000" baseline="-25000" dirty="0"/>
          </a:p>
          <a:p>
            <a:pPr marL="359410">
              <a:spcAft>
                <a:spcPts val="3000"/>
              </a:spcAft>
              <a:buFont typeface="Arial" panose="020B0604020202020204" pitchFamily="34" charset="0"/>
              <a:buChar char="•"/>
            </a:pPr>
            <a:r>
              <a:rPr lang="pt-BR" sz="2400" b="1" dirty="0"/>
              <a:t> Impactos </a:t>
            </a:r>
            <a:r>
              <a:rPr lang="pt-BR" sz="2400" dirty="0">
                <a:sym typeface="Wingdings" panose="05000000000000000000" pitchFamily="2" charset="2"/>
              </a:rPr>
              <a:t> Decisão </a:t>
            </a:r>
            <a:r>
              <a:rPr lang="pt-BR" sz="2400" dirty="0"/>
              <a:t>complexa podendo levar a uma                                                                             d</a:t>
            </a:r>
            <a:r>
              <a:rPr lang="pt-BR" sz="2400" dirty="0">
                <a:solidFill>
                  <a:schemeClr val="tx1">
                    <a:lumMod val="95000"/>
                    <a:lumOff val="5000"/>
                  </a:schemeClr>
                </a:solidFill>
                <a:sym typeface="Wingdings" panose="05000000000000000000" pitchFamily="2" charset="2"/>
              </a:rPr>
              <a:t>ispersão elevada entre os cenários possíveis;</a:t>
            </a:r>
            <a:endParaRPr lang="pt-BR" sz="2400" dirty="0">
              <a:solidFill>
                <a:schemeClr val="tx1">
                  <a:lumMod val="95000"/>
                  <a:lumOff val="5000"/>
                </a:schemeClr>
              </a:solidFill>
              <a:ea typeface="Calibri" panose="020F0502020204030204"/>
              <a:cs typeface="Calibri" panose="020F0502020204030204"/>
            </a:endParaRPr>
          </a:p>
          <a:p>
            <a:pPr marL="357188" indent="1588">
              <a:buFont typeface="Arial" panose="020B0604020202020204" pitchFamily="34" charset="0"/>
              <a:buChar char="•"/>
            </a:pPr>
            <a:r>
              <a:rPr lang="pt-BR" sz="2400" dirty="0"/>
              <a:t> </a:t>
            </a:r>
            <a:r>
              <a:rPr lang="pt-BR" sz="2400" b="1" dirty="0"/>
              <a:t>Possíveis Soluções </a:t>
            </a:r>
            <a:r>
              <a:rPr lang="pt-BR" sz="2400" dirty="0">
                <a:sym typeface="Wingdings" panose="05000000000000000000" pitchFamily="2" charset="2"/>
              </a:rPr>
              <a:t> Aquisição de informações adicionais através de: </a:t>
            </a:r>
          </a:p>
          <a:p>
            <a:pPr marL="814388" lvl="1" indent="1588">
              <a:buFont typeface="Arial" panose="020B0604020202020204" pitchFamily="34" charset="0"/>
              <a:buChar char="•"/>
            </a:pPr>
            <a:r>
              <a:rPr lang="pt-BR" sz="2000" dirty="0">
                <a:sym typeface="Wingdings" panose="05000000000000000000" pitchFamily="2" charset="2"/>
              </a:rPr>
              <a:t> Perfuração de mais poços;</a:t>
            </a:r>
          </a:p>
          <a:p>
            <a:pPr marL="814388" lvl="1" indent="1588">
              <a:spcAft>
                <a:spcPts val="3000"/>
              </a:spcAft>
              <a:buFont typeface="Arial" panose="020B0604020202020204" pitchFamily="34" charset="0"/>
              <a:buChar char="•"/>
            </a:pPr>
            <a:r>
              <a:rPr lang="pt-BR" sz="2000" dirty="0">
                <a:sym typeface="Wingdings" panose="05000000000000000000" pitchFamily="2" charset="2"/>
              </a:rPr>
              <a:t> Execução de Testes de Longa Duração ou de Projetos Piloto;</a:t>
            </a:r>
          </a:p>
          <a:p>
            <a:pPr marL="35941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pt-BR" sz="2400" dirty="0"/>
              <a:t> </a:t>
            </a:r>
            <a:r>
              <a:rPr lang="pt-BR" sz="2400" b="1" dirty="0"/>
              <a:t>Providência </a:t>
            </a:r>
            <a:r>
              <a:rPr lang="pt-BR" sz="2400" dirty="0">
                <a:sym typeface="Wingdings" panose="05000000000000000000" pitchFamily="2" charset="2"/>
              </a:rPr>
              <a:t> </a:t>
            </a:r>
            <a:r>
              <a:rPr lang="pt-BR" sz="2400" dirty="0"/>
              <a:t>Antecipação de poços e Teste de Longa Duração</a:t>
            </a:r>
            <a:endParaRPr lang="pt-BR" sz="2400" dirty="0">
              <a:ea typeface="Calibri" panose="020F0502020204030204"/>
              <a:cs typeface="Calibri" panose="020F0502020204030204"/>
            </a:endParaRPr>
          </a:p>
        </p:txBody>
      </p:sp>
      <p:sp>
        <p:nvSpPr>
          <p:cNvPr id="14" name="Rectangle 9">
            <a:extLst>
              <a:ext uri="{FF2B5EF4-FFF2-40B4-BE49-F238E27FC236}">
                <a16:creationId xmlns:a16="http://schemas.microsoft.com/office/drawing/2014/main" id="{D3BB45D9-38E0-47EB-8CC5-162306BF4C9C}"/>
              </a:ext>
            </a:extLst>
          </p:cNvPr>
          <p:cNvSpPr txBox="1">
            <a:spLocks noChangeArrowheads="1"/>
          </p:cNvSpPr>
          <p:nvPr/>
        </p:nvSpPr>
        <p:spPr>
          <a:xfrm>
            <a:off x="503239" y="316381"/>
            <a:ext cx="7880350" cy="56738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 vert="horz" wrap="square" lIns="91428" tIns="45714" rIns="91428" bIns="45714" numCol="1" anchor="t" anchorCtr="0" compatLnSpc="1">
            <a:prstTxWarp prst="textNoShape">
              <a:avLst/>
            </a:prstTxWarp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777875">
              <a:lnSpc>
                <a:spcPct val="85000"/>
              </a:lnSpc>
            </a:pPr>
            <a:r>
              <a:rPr lang="pt-BR" altLang="pt-BR" sz="3600" b="1">
                <a:solidFill>
                  <a:schemeClr val="accent1">
                    <a:lumMod val="75000"/>
                  </a:schemeClr>
                </a:solidFill>
                <a:latin typeface="+mn-lt"/>
              </a:rPr>
              <a:t>Riscos de Geologia e de Reservatório</a:t>
            </a:r>
          </a:p>
        </p:txBody>
      </p:sp>
      <p:pic>
        <p:nvPicPr>
          <p:cNvPr id="17" name="Imagem 16">
            <a:extLst>
              <a:ext uri="{FF2B5EF4-FFF2-40B4-BE49-F238E27FC236}">
                <a16:creationId xmlns:a16="http://schemas.microsoft.com/office/drawing/2014/main" id="{E8EC629A-0594-407E-953E-86F5375F863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70422" y="3635288"/>
            <a:ext cx="972000" cy="972000"/>
          </a:xfrm>
          <a:prstGeom prst="rect">
            <a:avLst/>
          </a:prstGeom>
        </p:spPr>
      </p:pic>
      <p:pic>
        <p:nvPicPr>
          <p:cNvPr id="18" name="Imagem 17">
            <a:extLst>
              <a:ext uri="{FF2B5EF4-FFF2-40B4-BE49-F238E27FC236}">
                <a16:creationId xmlns:a16="http://schemas.microsoft.com/office/drawing/2014/main" id="{F58A2206-3FC2-427C-AADB-2E7750B6A36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556422" y="4435388"/>
            <a:ext cx="972000" cy="972000"/>
          </a:xfrm>
          <a:prstGeom prst="rect">
            <a:avLst/>
          </a:prstGeom>
        </p:spPr>
      </p:pic>
      <p:pic>
        <p:nvPicPr>
          <p:cNvPr id="19" name="Imagem 18">
            <a:extLst>
              <a:ext uri="{FF2B5EF4-FFF2-40B4-BE49-F238E27FC236}">
                <a16:creationId xmlns:a16="http://schemas.microsoft.com/office/drawing/2014/main" id="{664719EA-6475-418C-A9BF-2056977D634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002548" y="5263856"/>
            <a:ext cx="972000" cy="972000"/>
          </a:xfrm>
          <a:prstGeom prst="rect">
            <a:avLst/>
          </a:prstGeom>
        </p:spPr>
      </p:pic>
      <p:pic>
        <p:nvPicPr>
          <p:cNvPr id="20" name="Imagem 19">
            <a:extLst>
              <a:ext uri="{FF2B5EF4-FFF2-40B4-BE49-F238E27FC236}">
                <a16:creationId xmlns:a16="http://schemas.microsoft.com/office/drawing/2014/main" id="{214D13F5-0BA5-40C1-85D4-132D50209E1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041001" y="5263856"/>
            <a:ext cx="968436" cy="972000"/>
          </a:xfrm>
          <a:prstGeom prst="rect">
            <a:avLst/>
          </a:prstGeom>
        </p:spPr>
      </p:pic>
      <p:pic>
        <p:nvPicPr>
          <p:cNvPr id="21" name="Imagem 20">
            <a:extLst>
              <a:ext uri="{FF2B5EF4-FFF2-40B4-BE49-F238E27FC236}">
                <a16:creationId xmlns:a16="http://schemas.microsoft.com/office/drawing/2014/main" id="{67B7BCE6-1167-4C06-851F-7AF7A194135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545585" y="4435388"/>
            <a:ext cx="972000" cy="972000"/>
          </a:xfrm>
          <a:prstGeom prst="rect">
            <a:avLst/>
          </a:prstGeom>
        </p:spPr>
      </p:pic>
      <p:pic>
        <p:nvPicPr>
          <p:cNvPr id="22" name="Imagem 21">
            <a:extLst>
              <a:ext uri="{FF2B5EF4-FFF2-40B4-BE49-F238E27FC236}">
                <a16:creationId xmlns:a16="http://schemas.microsoft.com/office/drawing/2014/main" id="{54F2B17E-E080-48B3-AE75-CC2914EA7D0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071075" y="5263856"/>
            <a:ext cx="972000" cy="972000"/>
          </a:xfrm>
          <a:prstGeom prst="rect">
            <a:avLst/>
          </a:prstGeom>
        </p:spPr>
      </p:pic>
      <p:pic>
        <p:nvPicPr>
          <p:cNvPr id="43" name="Imagem 42">
            <a:extLst>
              <a:ext uri="{FF2B5EF4-FFF2-40B4-BE49-F238E27FC236}">
                <a16:creationId xmlns:a16="http://schemas.microsoft.com/office/drawing/2014/main" id="{CFB31244-5497-4FF6-AE14-3710CF4814B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857121" y="97836"/>
            <a:ext cx="2949530" cy="3331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374235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9">
            <a:extLst>
              <a:ext uri="{FF2B5EF4-FFF2-40B4-BE49-F238E27FC236}">
                <a16:creationId xmlns:a16="http://schemas.microsoft.com/office/drawing/2014/main" id="{957384B8-ECAD-4F0E-A674-B3B159AF73F4}"/>
              </a:ext>
            </a:extLst>
          </p:cNvPr>
          <p:cNvSpPr txBox="1">
            <a:spLocks noChangeArrowheads="1"/>
          </p:cNvSpPr>
          <p:nvPr/>
        </p:nvSpPr>
        <p:spPr>
          <a:xfrm>
            <a:off x="503239" y="316381"/>
            <a:ext cx="7880350" cy="56738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 vert="horz" wrap="square" lIns="91428" tIns="45714" rIns="91428" bIns="45714" numCol="1" anchor="t" anchorCtr="0" compatLnSpc="1">
            <a:prstTxWarp prst="textNoShape">
              <a:avLst/>
            </a:prstTxWarp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777875">
              <a:lnSpc>
                <a:spcPct val="85000"/>
              </a:lnSpc>
            </a:pPr>
            <a:r>
              <a:rPr lang="pt-BR" altLang="pt-BR" sz="3600" b="1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Substituição de Linhas Flexíveis</a:t>
            </a:r>
          </a:p>
        </p:txBody>
      </p:sp>
      <p:sp>
        <p:nvSpPr>
          <p:cNvPr id="8" name="Retângulo 7">
            <a:extLst>
              <a:ext uri="{FF2B5EF4-FFF2-40B4-BE49-F238E27FC236}">
                <a16:creationId xmlns:a16="http://schemas.microsoft.com/office/drawing/2014/main" id="{C015C8C6-B083-4668-93C3-F02B2BD5A661}"/>
              </a:ext>
            </a:extLst>
          </p:cNvPr>
          <p:cNvSpPr/>
          <p:nvPr/>
        </p:nvSpPr>
        <p:spPr>
          <a:xfrm>
            <a:off x="-11089" y="1091067"/>
            <a:ext cx="11788047" cy="49398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0000">
              <a:spcAft>
                <a:spcPts val="3000"/>
              </a:spcAft>
              <a:buFont typeface="Arial" panose="020B0604020202020204" pitchFamily="34" charset="0"/>
              <a:buChar char="•"/>
            </a:pPr>
            <a:r>
              <a:rPr lang="pt-BR" sz="2400" dirty="0"/>
              <a:t> </a:t>
            </a:r>
            <a:r>
              <a:rPr lang="pt-BR" sz="2400" b="1" dirty="0"/>
              <a:t>Problema </a:t>
            </a:r>
            <a:r>
              <a:rPr lang="pt-BR" sz="2400" dirty="0">
                <a:sym typeface="Wingdings" panose="05000000000000000000" pitchFamily="2" charset="2"/>
              </a:rPr>
              <a:t>Linhas flexíveis apresentaram                                                                                              falhas face a um novo fenômeno chamado corrosão                                                                    sob tensão pelo CO</a:t>
            </a:r>
            <a:r>
              <a:rPr lang="pt-BR" sz="2400" baseline="30000" dirty="0">
                <a:sym typeface="Wingdings" panose="05000000000000000000" pitchFamily="2" charset="2"/>
              </a:rPr>
              <a:t>2</a:t>
            </a:r>
            <a:r>
              <a:rPr lang="pt-BR" sz="2400" dirty="0">
                <a:sym typeface="Wingdings" panose="05000000000000000000" pitchFamily="2" charset="2"/>
              </a:rPr>
              <a:t> (SCCCO</a:t>
            </a:r>
            <a:r>
              <a:rPr lang="pt-BR" sz="2400" baseline="-25000" dirty="0">
                <a:sym typeface="Wingdings" panose="05000000000000000000" pitchFamily="2" charset="2"/>
              </a:rPr>
              <a:t>2)</a:t>
            </a:r>
            <a:r>
              <a:rPr lang="pt-BR" sz="2400" dirty="0">
                <a:sym typeface="Wingdings" panose="05000000000000000000" pitchFamily="2" charset="2"/>
              </a:rPr>
              <a:t>;</a:t>
            </a:r>
            <a:endParaRPr lang="pt-BR" sz="2400" dirty="0"/>
          </a:p>
          <a:p>
            <a:pPr marL="360000">
              <a:spcAft>
                <a:spcPts val="3000"/>
              </a:spcAft>
              <a:buFont typeface="Arial" panose="020B0604020202020204" pitchFamily="34" charset="0"/>
              <a:buChar char="•"/>
            </a:pPr>
            <a:r>
              <a:rPr lang="pt-BR" sz="2400" dirty="0"/>
              <a:t> </a:t>
            </a:r>
            <a:r>
              <a:rPr lang="pt-BR" sz="2400" b="1" dirty="0"/>
              <a:t>Impactos </a:t>
            </a:r>
            <a:r>
              <a:rPr lang="pt-BR" sz="2400" dirty="0">
                <a:sym typeface="Wingdings" panose="05000000000000000000" pitchFamily="2" charset="2"/>
              </a:rPr>
              <a:t> Risco de danos com possível derrame                                                                         de óleo no mar e riscos à segurança;</a:t>
            </a:r>
            <a:endParaRPr lang="pt-BR" sz="2400" dirty="0"/>
          </a:p>
          <a:p>
            <a:pPr marL="360000">
              <a:spcAft>
                <a:spcPts val="3000"/>
              </a:spcAft>
              <a:buFont typeface="Arial" panose="020B0604020202020204" pitchFamily="34" charset="0"/>
              <a:buChar char="•"/>
            </a:pPr>
            <a:r>
              <a:rPr lang="pt-BR" sz="2400" dirty="0"/>
              <a:t> </a:t>
            </a:r>
            <a:r>
              <a:rPr lang="pt-BR" sz="2400" b="1" dirty="0"/>
              <a:t>Possíveis Soluções </a:t>
            </a:r>
            <a:r>
              <a:rPr lang="pt-BR" sz="2400" dirty="0">
                <a:sym typeface="Wingdings" panose="05000000000000000000" pitchFamily="2" charset="2"/>
              </a:rPr>
              <a:t> Inspeções e trocas, com altos custos operacionais                                           X alteração para linhas rígidas, resistentes ao fenômeno, mas trazendo                                                       impactos ao projeto.</a:t>
            </a:r>
          </a:p>
          <a:p>
            <a:pPr marL="360000">
              <a:spcAft>
                <a:spcPts val="4200"/>
              </a:spcAft>
              <a:buFont typeface="Arial" panose="020B0604020202020204" pitchFamily="34" charset="0"/>
              <a:buChar char="•"/>
            </a:pPr>
            <a:r>
              <a:rPr lang="pt-BR" sz="2400" dirty="0"/>
              <a:t> </a:t>
            </a:r>
            <a:r>
              <a:rPr lang="pt-BR" sz="2400" b="1" dirty="0"/>
              <a:t>Providência </a:t>
            </a:r>
            <a:r>
              <a:rPr lang="pt-BR" sz="2400" dirty="0">
                <a:sym typeface="Wingdings" panose="05000000000000000000" pitchFamily="2" charset="2"/>
              </a:rPr>
              <a:t> </a:t>
            </a:r>
            <a:r>
              <a:rPr lang="pt-BR" sz="2400" dirty="0"/>
              <a:t> As linhas foram alterados para rígidas face aos                                                                    aspectos de segurança e economicidade envolvidos. </a:t>
            </a:r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D7C48754-DFF7-4FD4-AF32-D60F021B92B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76148" y="200930"/>
            <a:ext cx="3506534" cy="2632302"/>
          </a:xfrm>
          <a:prstGeom prst="rect">
            <a:avLst/>
          </a:prstGeom>
        </p:spPr>
      </p:pic>
      <p:pic>
        <p:nvPicPr>
          <p:cNvPr id="3" name="Imagem 2">
            <a:extLst>
              <a:ext uri="{FF2B5EF4-FFF2-40B4-BE49-F238E27FC236}">
                <a16:creationId xmlns:a16="http://schemas.microsoft.com/office/drawing/2014/main" id="{2D31CADE-B04F-4351-AFFC-565D96A1222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06160" y="985522"/>
            <a:ext cx="3139976" cy="2354982"/>
          </a:xfrm>
          <a:prstGeom prst="rect">
            <a:avLst/>
          </a:prstGeom>
        </p:spPr>
      </p:pic>
      <p:pic>
        <p:nvPicPr>
          <p:cNvPr id="11" name="Imagem 10">
            <a:extLst>
              <a:ext uri="{FF2B5EF4-FFF2-40B4-BE49-F238E27FC236}">
                <a16:creationId xmlns:a16="http://schemas.microsoft.com/office/drawing/2014/main" id="{70BB6C66-593F-4E10-9047-6DF7B362206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540267" y="4304756"/>
            <a:ext cx="972000" cy="972000"/>
          </a:xfrm>
          <a:prstGeom prst="rect">
            <a:avLst/>
          </a:prstGeom>
        </p:spPr>
      </p:pic>
      <p:pic>
        <p:nvPicPr>
          <p:cNvPr id="12" name="Imagem 11">
            <a:extLst>
              <a:ext uri="{FF2B5EF4-FFF2-40B4-BE49-F238E27FC236}">
                <a16:creationId xmlns:a16="http://schemas.microsoft.com/office/drawing/2014/main" id="{6EB1EFF1-61A4-4956-9F97-803CD1A6B13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035206" y="5133224"/>
            <a:ext cx="972000" cy="972000"/>
          </a:xfrm>
          <a:prstGeom prst="rect">
            <a:avLst/>
          </a:prstGeom>
        </p:spPr>
      </p:pic>
      <p:pic>
        <p:nvPicPr>
          <p:cNvPr id="13" name="Imagem 12">
            <a:extLst>
              <a:ext uri="{FF2B5EF4-FFF2-40B4-BE49-F238E27FC236}">
                <a16:creationId xmlns:a16="http://schemas.microsoft.com/office/drawing/2014/main" id="{CC1BCCCB-B5EC-4C31-8B56-F4DF0E5386F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073659" y="5133224"/>
            <a:ext cx="968436" cy="972000"/>
          </a:xfrm>
          <a:prstGeom prst="rect">
            <a:avLst/>
          </a:prstGeom>
        </p:spPr>
      </p:pic>
      <p:pic>
        <p:nvPicPr>
          <p:cNvPr id="14" name="Imagem 13">
            <a:extLst>
              <a:ext uri="{FF2B5EF4-FFF2-40B4-BE49-F238E27FC236}">
                <a16:creationId xmlns:a16="http://schemas.microsoft.com/office/drawing/2014/main" id="{D7FFAF9B-B971-4D1E-96D0-D850A98946F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578243" y="4304756"/>
            <a:ext cx="972000" cy="972000"/>
          </a:xfrm>
          <a:prstGeom prst="rect">
            <a:avLst/>
          </a:prstGeom>
        </p:spPr>
      </p:pic>
      <p:pic>
        <p:nvPicPr>
          <p:cNvPr id="15" name="Imagem 14">
            <a:extLst>
              <a:ext uri="{FF2B5EF4-FFF2-40B4-BE49-F238E27FC236}">
                <a16:creationId xmlns:a16="http://schemas.microsoft.com/office/drawing/2014/main" id="{D9B546A9-9D26-4EA8-A2B7-6341DF959D2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103733" y="5133224"/>
            <a:ext cx="972000" cy="97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239743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3">
            <a:extLst>
              <a:ext uri="{FF2B5EF4-FFF2-40B4-BE49-F238E27FC236}">
                <a16:creationId xmlns:a16="http://schemas.microsoft.com/office/drawing/2014/main" id="{09543568-273C-42C4-BAFE-3792E291BE7F}"/>
              </a:ext>
            </a:extLst>
          </p:cNvPr>
          <p:cNvSpPr/>
          <p:nvPr/>
        </p:nvSpPr>
        <p:spPr>
          <a:xfrm>
            <a:off x="0" y="978132"/>
            <a:ext cx="11788047" cy="45704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36575" indent="-177800">
              <a:spcAft>
                <a:spcPts val="3000"/>
              </a:spcAft>
              <a:buFont typeface="Arial" panose="020B0604020202020204" pitchFamily="34" charset="0"/>
              <a:buChar char="•"/>
            </a:pPr>
            <a:r>
              <a:rPr lang="pt-BR" sz="2400" b="1" dirty="0"/>
              <a:t>Problema </a:t>
            </a:r>
            <a:r>
              <a:rPr lang="pt-BR" sz="2400" dirty="0">
                <a:sym typeface="Wingdings" panose="05000000000000000000" pitchFamily="2" charset="2"/>
              </a:rPr>
              <a:t></a:t>
            </a:r>
            <a:r>
              <a:rPr lang="pt-BR" sz="2400" b="1" dirty="0"/>
              <a:t> </a:t>
            </a:r>
            <a:r>
              <a:rPr lang="pt-BR" sz="2400" dirty="0"/>
              <a:t>Elevados volumes de gás com CO2 ocupam                                                                     grande espaço nos </a:t>
            </a:r>
            <a:r>
              <a:rPr lang="pt-BR" sz="2400" dirty="0" err="1"/>
              <a:t>FPSOs</a:t>
            </a:r>
            <a:r>
              <a:rPr lang="pt-BR" sz="2400" dirty="0"/>
              <a:t> para seu tratamento;</a:t>
            </a:r>
          </a:p>
          <a:p>
            <a:pPr marL="360000">
              <a:spcAft>
                <a:spcPts val="3000"/>
              </a:spcAft>
              <a:buFont typeface="Arial" panose="020B0604020202020204" pitchFamily="34" charset="0"/>
              <a:buChar char="•"/>
            </a:pPr>
            <a:r>
              <a:rPr lang="pt-BR" sz="2400" b="1" dirty="0"/>
              <a:t> Impactos </a:t>
            </a:r>
            <a:r>
              <a:rPr lang="pt-BR" sz="2400" dirty="0">
                <a:sym typeface="Wingdings" panose="05000000000000000000" pitchFamily="2" charset="2"/>
              </a:rPr>
              <a:t> Redução da capacidade para processar mais                                                                          óleo, com menor retorno econômico para o projeto;</a:t>
            </a:r>
          </a:p>
          <a:p>
            <a:pPr marL="360000">
              <a:spcAft>
                <a:spcPts val="3000"/>
              </a:spcAft>
              <a:buFont typeface="Arial" panose="020B0604020202020204" pitchFamily="34" charset="0"/>
              <a:buChar char="•"/>
            </a:pPr>
            <a:r>
              <a:rPr lang="pt-BR" sz="2400" dirty="0"/>
              <a:t> </a:t>
            </a:r>
            <a:r>
              <a:rPr lang="pt-BR" sz="2400" b="1" dirty="0"/>
              <a:t>Possível solução </a:t>
            </a:r>
            <a:r>
              <a:rPr lang="pt-BR" sz="2400" dirty="0">
                <a:sym typeface="Wingdings" panose="05000000000000000000" pitchFamily="2" charset="2"/>
              </a:rPr>
              <a:t> S</a:t>
            </a:r>
            <a:r>
              <a:rPr lang="pt-BR" sz="2400" dirty="0">
                <a:solidFill>
                  <a:srgbClr val="000000"/>
                </a:solidFill>
              </a:rPr>
              <a:t>eparação submarina de gás com elevado                                                                            CO</a:t>
            </a:r>
            <a:r>
              <a:rPr lang="pt-BR" sz="2400" baseline="-25000" dirty="0">
                <a:solidFill>
                  <a:srgbClr val="000000"/>
                </a:solidFill>
              </a:rPr>
              <a:t>2 </a:t>
            </a:r>
            <a:r>
              <a:rPr lang="pt-BR" sz="2400" dirty="0">
                <a:solidFill>
                  <a:srgbClr val="000000"/>
                </a:solidFill>
              </a:rPr>
              <a:t> e sua </a:t>
            </a:r>
            <a:r>
              <a:rPr lang="pt-BR" sz="2400" dirty="0" err="1">
                <a:solidFill>
                  <a:srgbClr val="000000"/>
                </a:solidFill>
              </a:rPr>
              <a:t>reinjeção</a:t>
            </a:r>
            <a:r>
              <a:rPr lang="pt-BR" sz="2400" dirty="0">
                <a:solidFill>
                  <a:srgbClr val="000000"/>
                </a:solidFill>
              </a:rPr>
              <a:t> no reservatório, com bomba centrifuga (Gases com elevado CO</a:t>
            </a:r>
            <a:r>
              <a:rPr lang="pt-BR" sz="2400" baseline="-25000" dirty="0">
                <a:solidFill>
                  <a:srgbClr val="000000"/>
                </a:solidFill>
              </a:rPr>
              <a:t>2 </a:t>
            </a:r>
            <a:r>
              <a:rPr lang="pt-BR" sz="2400" dirty="0">
                <a:solidFill>
                  <a:srgbClr val="000000"/>
                </a:solidFill>
              </a:rPr>
              <a:t>apresentam, sob pressão, massa específica de líquidos, podendo ser bombeados).</a:t>
            </a:r>
            <a:endParaRPr lang="pt-BR" sz="2400" strike="sngStrike" dirty="0">
              <a:solidFill>
                <a:srgbClr val="000000"/>
              </a:solidFill>
            </a:endParaRPr>
          </a:p>
          <a:p>
            <a:pPr marL="360000">
              <a:spcAft>
                <a:spcPts val="3000"/>
              </a:spcAft>
              <a:buFont typeface="Arial" panose="020B0604020202020204" pitchFamily="34" charset="0"/>
              <a:buChar char="•"/>
            </a:pPr>
            <a:r>
              <a:rPr lang="pt-BR" sz="2400" dirty="0"/>
              <a:t>  </a:t>
            </a:r>
            <a:r>
              <a:rPr lang="pt-BR" sz="2400" b="1" dirty="0"/>
              <a:t>Providência </a:t>
            </a:r>
            <a:r>
              <a:rPr lang="pt-BR" sz="2400" dirty="0">
                <a:sym typeface="Wingdings" panose="05000000000000000000" pitchFamily="2" charset="2"/>
              </a:rPr>
              <a:t> Efetuar teste piloto e, face aos resultados, equipar                                              candidatos ao </a:t>
            </a:r>
            <a:r>
              <a:rPr lang="pt-BR" sz="2400" dirty="0" err="1">
                <a:sym typeface="Wingdings" panose="05000000000000000000" pitchFamily="2" charset="2"/>
              </a:rPr>
              <a:t>Hi-Sep</a:t>
            </a:r>
            <a:r>
              <a:rPr lang="pt-BR" sz="2400" dirty="0">
                <a:sym typeface="Wingdings" panose="05000000000000000000" pitchFamily="2" charset="2"/>
              </a:rPr>
              <a:t> com flexibilidades para uma futura instalação.</a:t>
            </a:r>
          </a:p>
        </p:txBody>
      </p:sp>
      <p:sp>
        <p:nvSpPr>
          <p:cNvPr id="3" name="Rectangle 9">
            <a:extLst>
              <a:ext uri="{FF2B5EF4-FFF2-40B4-BE49-F238E27FC236}">
                <a16:creationId xmlns:a16="http://schemas.microsoft.com/office/drawing/2014/main" id="{83283622-318F-470A-B296-C1C68F369661}"/>
              </a:ext>
            </a:extLst>
          </p:cNvPr>
          <p:cNvSpPr txBox="1">
            <a:spLocks noChangeArrowheads="1"/>
          </p:cNvSpPr>
          <p:nvPr/>
        </p:nvSpPr>
        <p:spPr>
          <a:xfrm>
            <a:off x="503239" y="316381"/>
            <a:ext cx="9594918" cy="56738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 vert="horz" wrap="square" lIns="91428" tIns="45714" rIns="91428" bIns="45714" numCol="1" anchor="t" anchorCtr="0" compatLnSpc="1">
            <a:prstTxWarp prst="textNoShape">
              <a:avLst/>
            </a:prstTxWarp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777875">
              <a:lnSpc>
                <a:spcPct val="85000"/>
              </a:lnSpc>
            </a:pPr>
            <a:r>
              <a:rPr lang="pt-BR" altLang="pt-BR" sz="3600" b="1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Nova tecnologia – </a:t>
            </a:r>
            <a:r>
              <a:rPr lang="pt-BR" altLang="pt-BR" sz="3600" b="1" dirty="0" err="1">
                <a:solidFill>
                  <a:schemeClr val="accent1">
                    <a:lumMod val="75000"/>
                  </a:schemeClr>
                </a:solidFill>
                <a:latin typeface="+mn-lt"/>
              </a:rPr>
              <a:t>Hi-Sep</a:t>
            </a:r>
            <a:endParaRPr lang="pt-BR" altLang="pt-BR" sz="3600" b="1" dirty="0">
              <a:solidFill>
                <a:schemeClr val="accent1">
                  <a:lumMod val="75000"/>
                </a:schemeClr>
              </a:solidFill>
              <a:latin typeface="+mn-lt"/>
            </a:endParaRPr>
          </a:p>
        </p:txBody>
      </p:sp>
      <p:pic>
        <p:nvPicPr>
          <p:cNvPr id="10" name="Imagem 9">
            <a:extLst>
              <a:ext uri="{FF2B5EF4-FFF2-40B4-BE49-F238E27FC236}">
                <a16:creationId xmlns:a16="http://schemas.microsoft.com/office/drawing/2014/main" id="{F15EB124-879D-4E66-9EE0-B8EFA1EF537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51913" y="234087"/>
            <a:ext cx="4106873" cy="3198466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36195" dist="12700" dir="11400000" algn="tl" rotWithShape="0">
              <a:srgbClr val="000000">
                <a:alpha val="33000"/>
              </a:srgbClr>
            </a:outerShdw>
          </a:effectLst>
          <a:scene3d>
            <a:camera prst="perspectiveContrastingLeftFacing">
              <a:rot lat="540000" lon="2100000" rev="0"/>
            </a:camera>
            <a:lightRig rig="soft" dir="t"/>
          </a:scene3d>
          <a:sp3d contourW="12700" prstMaterial="matte">
            <a:bevelT w="63500" h="50800"/>
            <a:contourClr>
              <a:srgbClr val="C0C0C0"/>
            </a:contourClr>
          </a:sp3d>
        </p:spPr>
      </p:pic>
      <p:pic>
        <p:nvPicPr>
          <p:cNvPr id="11" name="Imagem 10">
            <a:extLst>
              <a:ext uri="{FF2B5EF4-FFF2-40B4-BE49-F238E27FC236}">
                <a16:creationId xmlns:a16="http://schemas.microsoft.com/office/drawing/2014/main" id="{56F12374-418C-4AA0-A931-793A555584F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23670" y="4402730"/>
            <a:ext cx="972000" cy="972000"/>
          </a:xfrm>
          <a:prstGeom prst="rect">
            <a:avLst/>
          </a:prstGeom>
        </p:spPr>
      </p:pic>
      <p:pic>
        <p:nvPicPr>
          <p:cNvPr id="12" name="Imagem 11">
            <a:extLst>
              <a:ext uri="{FF2B5EF4-FFF2-40B4-BE49-F238E27FC236}">
                <a16:creationId xmlns:a16="http://schemas.microsoft.com/office/drawing/2014/main" id="{FCBBB603-B898-4A22-ACEB-477588B747E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220620" y="5231198"/>
            <a:ext cx="968436" cy="972000"/>
          </a:xfrm>
          <a:prstGeom prst="rect">
            <a:avLst/>
          </a:prstGeom>
        </p:spPr>
      </p:pic>
      <p:pic>
        <p:nvPicPr>
          <p:cNvPr id="13" name="Imagem 12">
            <a:extLst>
              <a:ext uri="{FF2B5EF4-FFF2-40B4-BE49-F238E27FC236}">
                <a16:creationId xmlns:a16="http://schemas.microsoft.com/office/drawing/2014/main" id="{62BBD224-17E2-41D9-998A-FB21484F962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250694" y="5231198"/>
            <a:ext cx="972000" cy="97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938760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>
            <a:extLst>
              <a:ext uri="{FF2B5EF4-FFF2-40B4-BE49-F238E27FC236}">
                <a16:creationId xmlns:a16="http://schemas.microsoft.com/office/drawing/2014/main" id="{6BE3403C-F804-4E8A-BA62-14885CF6CDE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51392" y="0"/>
            <a:ext cx="6093978" cy="6858000"/>
          </a:xfrm>
          <a:prstGeom prst="rect">
            <a:avLst/>
          </a:prstGeom>
        </p:spPr>
      </p:pic>
      <p:sp>
        <p:nvSpPr>
          <p:cNvPr id="4" name="Retângulo 3">
            <a:extLst>
              <a:ext uri="{FF2B5EF4-FFF2-40B4-BE49-F238E27FC236}">
                <a16:creationId xmlns:a16="http://schemas.microsoft.com/office/drawing/2014/main" id="{15AB9A4D-92AA-4562-AE87-F24B6B2C213D}"/>
              </a:ext>
            </a:extLst>
          </p:cNvPr>
          <p:cNvSpPr/>
          <p:nvPr/>
        </p:nvSpPr>
        <p:spPr>
          <a:xfrm>
            <a:off x="0" y="6482443"/>
            <a:ext cx="3037114" cy="37555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0E1D6C5E-1912-4659-B299-E073889E7B2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51392" y="5922271"/>
            <a:ext cx="12343392" cy="957072"/>
          </a:xfrm>
          <a:prstGeom prst="rect">
            <a:avLst/>
          </a:prstGeom>
        </p:spPr>
      </p:pic>
      <p:sp>
        <p:nvSpPr>
          <p:cNvPr id="6" name="CaixaDeTexto 5">
            <a:extLst>
              <a:ext uri="{FF2B5EF4-FFF2-40B4-BE49-F238E27FC236}">
                <a16:creationId xmlns:a16="http://schemas.microsoft.com/office/drawing/2014/main" id="{AB3E3929-59B2-471E-ACF3-1E4C810DF05D}"/>
              </a:ext>
            </a:extLst>
          </p:cNvPr>
          <p:cNvSpPr txBox="1"/>
          <p:nvPr/>
        </p:nvSpPr>
        <p:spPr>
          <a:xfrm>
            <a:off x="6089545" y="1647381"/>
            <a:ext cx="5986639" cy="4462760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pPr marL="514350" indent="-514350">
              <a:spcAft>
                <a:spcPts val="1200"/>
              </a:spcAft>
              <a:buFont typeface="+mj-lt"/>
              <a:buAutoNum type="arabicPeriod"/>
            </a:pPr>
            <a:r>
              <a:rPr lang="pt-BR" sz="3200" b="1" spc="-45" dirty="0">
                <a:solidFill>
                  <a:srgbClr val="4472C4"/>
                </a:solidFill>
                <a:latin typeface="Calibri"/>
                <a:ea typeface="Calibri"/>
                <a:cs typeface="Calibri"/>
              </a:rPr>
              <a:t>Projetos no </a:t>
            </a:r>
            <a:r>
              <a:rPr lang="pt-BR" sz="3200" b="1" spc="-45" dirty="0" err="1">
                <a:solidFill>
                  <a:srgbClr val="4472C4"/>
                </a:solidFill>
                <a:latin typeface="Calibri"/>
                <a:ea typeface="Calibri"/>
                <a:cs typeface="Calibri"/>
              </a:rPr>
              <a:t>Pré</a:t>
            </a:r>
            <a:r>
              <a:rPr lang="pt-BR" sz="3200" b="1" spc="-45" dirty="0">
                <a:solidFill>
                  <a:srgbClr val="4472C4"/>
                </a:solidFill>
                <a:latin typeface="Calibri"/>
                <a:ea typeface="Calibri"/>
                <a:cs typeface="Calibri"/>
              </a:rPr>
              <a:t>-Sal Brasileiro</a:t>
            </a:r>
          </a:p>
          <a:p>
            <a:pPr marL="514350" indent="-514350">
              <a:buFont typeface="+mj-lt"/>
              <a:buAutoNum type="arabicPeriod"/>
            </a:pPr>
            <a:r>
              <a:rPr lang="pt-BR" sz="3200" b="1" spc="-45" dirty="0">
                <a:solidFill>
                  <a:srgbClr val="4472C4"/>
                </a:solidFill>
                <a:latin typeface="Calibri"/>
                <a:ea typeface="Calibri"/>
                <a:cs typeface="Calibri"/>
              </a:rPr>
              <a:t>Condicionantes dos Projetos</a:t>
            </a:r>
          </a:p>
          <a:p>
            <a:pPr marL="971550" lvl="1" indent="17463">
              <a:buFont typeface="+mj-lt"/>
              <a:buAutoNum type="alphaLcParenR"/>
            </a:pPr>
            <a:r>
              <a:rPr lang="pt-BR" sz="2800" b="1" spc="-45" dirty="0">
                <a:solidFill>
                  <a:srgbClr val="4472C4"/>
                </a:solidFill>
                <a:latin typeface="Calibri"/>
                <a:ea typeface="Calibri"/>
                <a:cs typeface="Calibri"/>
              </a:rPr>
              <a:t> Internas</a:t>
            </a:r>
          </a:p>
          <a:p>
            <a:pPr marL="971550" lvl="1" indent="17463">
              <a:spcAft>
                <a:spcPts val="1200"/>
              </a:spcAft>
              <a:buFont typeface="+mj-lt"/>
              <a:buAutoNum type="alphaLcParenR"/>
            </a:pPr>
            <a:r>
              <a:rPr lang="pt-BR" sz="2800" b="1" spc="-45" dirty="0">
                <a:solidFill>
                  <a:srgbClr val="4472C4"/>
                </a:solidFill>
                <a:latin typeface="Calibri"/>
                <a:ea typeface="Calibri"/>
                <a:cs typeface="Calibri"/>
              </a:rPr>
              <a:t> Externas</a:t>
            </a:r>
          </a:p>
          <a:p>
            <a:pPr marL="514350" indent="-514350">
              <a:buFont typeface="+mj-lt"/>
              <a:buAutoNum type="arabicPeriod"/>
            </a:pPr>
            <a:r>
              <a:rPr lang="pt-BR" sz="3200" b="1" spc="-45" dirty="0">
                <a:solidFill>
                  <a:srgbClr val="4472C4"/>
                </a:solidFill>
                <a:latin typeface="Calibri"/>
                <a:ea typeface="Calibri"/>
                <a:cs typeface="Calibri"/>
              </a:rPr>
              <a:t>Gerenciamento de Projetos E&amp;P</a:t>
            </a:r>
          </a:p>
          <a:p>
            <a:pPr marL="971550" lvl="1" indent="17463">
              <a:spcAft>
                <a:spcPts val="1200"/>
              </a:spcAft>
              <a:buFont typeface="+mj-lt"/>
              <a:buAutoNum type="alphaLcParenR"/>
            </a:pPr>
            <a:r>
              <a:rPr lang="pt-BR" sz="2800" b="1" spc="-45" dirty="0">
                <a:solidFill>
                  <a:srgbClr val="4472C4"/>
                </a:solidFill>
                <a:latin typeface="Calibri"/>
                <a:cs typeface="Calibri"/>
              </a:rPr>
              <a:t>Exemplos</a:t>
            </a:r>
          </a:p>
          <a:p>
            <a:pPr marL="514350" indent="-514350">
              <a:spcAft>
                <a:spcPts val="1200"/>
              </a:spcAft>
              <a:buFont typeface="+mj-lt"/>
              <a:buAutoNum type="arabicPeriod"/>
            </a:pPr>
            <a:r>
              <a:rPr lang="pt-BR" sz="3200" b="1" spc="-45" dirty="0">
                <a:solidFill>
                  <a:srgbClr val="4472C4"/>
                </a:solidFill>
                <a:latin typeface="Calibri"/>
                <a:ea typeface="Calibri"/>
                <a:cs typeface="Calibri"/>
              </a:rPr>
              <a:t>Considerações finais</a:t>
            </a:r>
          </a:p>
          <a:p>
            <a:pPr marL="514350" indent="-514350">
              <a:spcAft>
                <a:spcPts val="1200"/>
              </a:spcAft>
              <a:buFont typeface="+mj-lt"/>
              <a:buAutoNum type="arabicPeriod"/>
            </a:pPr>
            <a:r>
              <a:rPr lang="pt-BR" sz="3200" b="1" spc="-45" dirty="0">
                <a:solidFill>
                  <a:srgbClr val="4472C4"/>
                </a:solidFill>
                <a:latin typeface="Calibri"/>
                <a:ea typeface="Calibri"/>
                <a:cs typeface="Calibri"/>
              </a:rPr>
              <a:t>Q&amp;A</a:t>
            </a:r>
            <a:endParaRPr lang="en-US" b="1" dirty="0">
              <a:solidFill>
                <a:srgbClr val="4472C4"/>
              </a:solidFill>
              <a:latin typeface="Calibri"/>
              <a:ea typeface="Calibri"/>
              <a:cs typeface="Calibri"/>
            </a:endParaRPr>
          </a:p>
        </p:txBody>
      </p:sp>
      <p:pic>
        <p:nvPicPr>
          <p:cNvPr id="8" name="Imagem 7">
            <a:extLst>
              <a:ext uri="{FF2B5EF4-FFF2-40B4-BE49-F238E27FC236}">
                <a16:creationId xmlns:a16="http://schemas.microsoft.com/office/drawing/2014/main" id="{27897272-B711-4C22-B4A2-3ECED6C836C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94161" y="-2470"/>
            <a:ext cx="2085013" cy="2334970"/>
          </a:xfrm>
          <a:prstGeom prst="rect">
            <a:avLst/>
          </a:prstGeom>
        </p:spPr>
      </p:pic>
      <p:sp>
        <p:nvSpPr>
          <p:cNvPr id="9" name="Retângulo 8">
            <a:extLst>
              <a:ext uri="{FF2B5EF4-FFF2-40B4-BE49-F238E27FC236}">
                <a16:creationId xmlns:a16="http://schemas.microsoft.com/office/drawing/2014/main" id="{42C4B11F-278A-473C-A3C6-CC554F1D5BDE}"/>
              </a:ext>
            </a:extLst>
          </p:cNvPr>
          <p:cNvSpPr/>
          <p:nvPr/>
        </p:nvSpPr>
        <p:spPr>
          <a:xfrm>
            <a:off x="8364238" y="762606"/>
            <a:ext cx="1437253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4000" b="1" spc="-45" dirty="0">
                <a:solidFill>
                  <a:srgbClr val="4472C4"/>
                </a:solidFill>
                <a:ea typeface="Calibri"/>
                <a:cs typeface="Calibri"/>
              </a:rPr>
              <a:t>Índic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63739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9">
            <a:extLst>
              <a:ext uri="{FF2B5EF4-FFF2-40B4-BE49-F238E27FC236}">
                <a16:creationId xmlns:a16="http://schemas.microsoft.com/office/drawing/2014/main" id="{E4906407-8951-4BCF-96CD-237EAEEFF92A}"/>
              </a:ext>
            </a:extLst>
          </p:cNvPr>
          <p:cNvSpPr txBox="1">
            <a:spLocks noChangeArrowheads="1"/>
          </p:cNvSpPr>
          <p:nvPr/>
        </p:nvSpPr>
        <p:spPr>
          <a:xfrm>
            <a:off x="503239" y="316381"/>
            <a:ext cx="7880350" cy="56738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 vert="horz" wrap="square" lIns="91428" tIns="45714" rIns="91428" bIns="45714" numCol="1" anchor="t" anchorCtr="0" compatLnSpc="1">
            <a:prstTxWarp prst="textNoShape">
              <a:avLst/>
            </a:prstTxWarp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777875">
              <a:lnSpc>
                <a:spcPct val="85000"/>
              </a:lnSpc>
            </a:pPr>
            <a:r>
              <a:rPr lang="pt-BR" altLang="pt-BR" sz="3600" b="1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Gestão de pessoas</a:t>
            </a:r>
          </a:p>
        </p:txBody>
      </p:sp>
      <p:sp>
        <p:nvSpPr>
          <p:cNvPr id="4" name="Retângulo 3">
            <a:extLst>
              <a:ext uri="{FF2B5EF4-FFF2-40B4-BE49-F238E27FC236}">
                <a16:creationId xmlns:a16="http://schemas.microsoft.com/office/drawing/2014/main" id="{5028F63F-9330-45CE-A00B-CB96C0CCCE74}"/>
              </a:ext>
            </a:extLst>
          </p:cNvPr>
          <p:cNvSpPr/>
          <p:nvPr/>
        </p:nvSpPr>
        <p:spPr>
          <a:xfrm>
            <a:off x="174599" y="999709"/>
            <a:ext cx="11788047" cy="51706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00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BR" sz="2400" dirty="0"/>
              <a:t> </a:t>
            </a:r>
            <a:r>
              <a:rPr lang="pt-BR" sz="2400" b="1" dirty="0"/>
              <a:t>Problema </a:t>
            </a:r>
            <a:r>
              <a:rPr lang="pt-BR" sz="2400" dirty="0">
                <a:sym typeface="Wingdings" panose="05000000000000000000" pitchFamily="2" charset="2"/>
              </a:rPr>
              <a:t> Baixa eficiência de algumas equipes de projeto;</a:t>
            </a:r>
          </a:p>
          <a:p>
            <a:pPr marL="1789113" lvl="1">
              <a:buFont typeface="Arial" panose="020B0604020202020204" pitchFamily="34" charset="0"/>
              <a:buChar char="•"/>
            </a:pPr>
            <a:r>
              <a:rPr lang="pt-BR" sz="2000" dirty="0">
                <a:sym typeface="Wingdings" panose="05000000000000000000" pitchFamily="2" charset="2"/>
              </a:rPr>
              <a:t> </a:t>
            </a:r>
            <a:r>
              <a:rPr lang="pt-BR" sz="2000" dirty="0">
                <a:solidFill>
                  <a:prstClr val="black"/>
                </a:solidFill>
                <a:sym typeface="Wingdings" panose="05000000000000000000" pitchFamily="2" charset="2"/>
              </a:rPr>
              <a:t>Parceiros estrangeiros  diferenças culturais;</a:t>
            </a:r>
          </a:p>
          <a:p>
            <a:pPr marL="1789113" lvl="1">
              <a:buFont typeface="Arial" panose="020B0604020202020204" pitchFamily="34" charset="0"/>
              <a:buChar char="•"/>
            </a:pPr>
            <a:r>
              <a:rPr lang="pt-BR" sz="2000" dirty="0">
                <a:solidFill>
                  <a:prstClr val="black"/>
                </a:solidFill>
                <a:sym typeface="Wingdings" panose="05000000000000000000" pitchFamily="2" charset="2"/>
              </a:rPr>
              <a:t> Áreas técnicas com estrutura funcional;</a:t>
            </a:r>
          </a:p>
          <a:p>
            <a:pPr marL="1789113" lvl="1">
              <a:buFont typeface="Arial" panose="020B0604020202020204" pitchFamily="34" charset="0"/>
              <a:buChar char="•"/>
            </a:pPr>
            <a:r>
              <a:rPr lang="pt-BR" sz="2000" dirty="0">
                <a:solidFill>
                  <a:prstClr val="black"/>
                </a:solidFill>
                <a:sym typeface="Wingdings" panose="05000000000000000000" pitchFamily="2" charset="2"/>
              </a:rPr>
              <a:t> Visão segmentada  Dificuldades na tomada de decisão;</a:t>
            </a:r>
          </a:p>
          <a:p>
            <a:pPr marL="1789113" lvl="1"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pt-BR" sz="2000" dirty="0">
                <a:solidFill>
                  <a:prstClr val="black"/>
                </a:solidFill>
                <a:sym typeface="Wingdings" panose="05000000000000000000" pitchFamily="2" charset="2"/>
              </a:rPr>
              <a:t> Conflitos na definição de prioridades;</a:t>
            </a:r>
            <a:endParaRPr lang="pt-BR" sz="2000" dirty="0">
              <a:sym typeface="Wingdings" panose="05000000000000000000" pitchFamily="2" charset="2"/>
            </a:endParaRPr>
          </a:p>
          <a:p>
            <a:pPr marL="536575" lvl="1" indent="-179388"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pt-BR" sz="2400" b="1" dirty="0"/>
              <a:t>Impactos </a:t>
            </a:r>
            <a:r>
              <a:rPr lang="pt-BR" sz="2400" dirty="0">
                <a:sym typeface="Wingdings" panose="05000000000000000000" pitchFamily="2" charset="2"/>
              </a:rPr>
              <a:t> Reflexos em custos e prazos, com perda de valor para o projeto;</a:t>
            </a:r>
          </a:p>
          <a:p>
            <a:pPr marL="536575" lvl="1" indent="-179388"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pt-BR" sz="2400" b="1" dirty="0"/>
              <a:t>Possível Solução </a:t>
            </a:r>
            <a:r>
              <a:rPr lang="pt-BR" sz="2400" dirty="0">
                <a:sym typeface="Wingdings" panose="05000000000000000000" pitchFamily="2" charset="2"/>
              </a:rPr>
              <a:t> Busca por uma estrutura adequada para o projeto;</a:t>
            </a:r>
            <a:r>
              <a:rPr lang="pt-BR" sz="2400" dirty="0"/>
              <a:t> </a:t>
            </a:r>
            <a:endParaRPr lang="pt-BR" sz="2400" dirty="0">
              <a:sym typeface="Wingdings" panose="05000000000000000000" pitchFamily="2" charset="2"/>
            </a:endParaRPr>
          </a:p>
          <a:p>
            <a:pPr marL="360363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BR" sz="2400" b="1" dirty="0"/>
              <a:t> Providência </a:t>
            </a:r>
            <a:r>
              <a:rPr lang="pt-BR" sz="2400" dirty="0">
                <a:sym typeface="Wingdings" panose="05000000000000000000" pitchFamily="2" charset="2"/>
              </a:rPr>
              <a:t> </a:t>
            </a:r>
            <a:r>
              <a:rPr lang="pt-BR" sz="2400" dirty="0"/>
              <a:t> Adoção de estrutura </a:t>
            </a:r>
            <a:r>
              <a:rPr lang="pt-BR" sz="2400" dirty="0" err="1">
                <a:sym typeface="Wingdings" panose="05000000000000000000" pitchFamily="2" charset="2"/>
              </a:rPr>
              <a:t>projetizada</a:t>
            </a:r>
            <a:r>
              <a:rPr lang="pt-BR" sz="2400" dirty="0">
                <a:sym typeface="Wingdings" panose="05000000000000000000" pitchFamily="2" charset="2"/>
              </a:rPr>
              <a:t>:</a:t>
            </a:r>
          </a:p>
          <a:p>
            <a:pPr marL="1704975" indent="93663">
              <a:buFont typeface="Arial" panose="020B0604020202020204" pitchFamily="34" charset="0"/>
              <a:buChar char="•"/>
            </a:pPr>
            <a:r>
              <a:rPr lang="pt-BR" sz="2000" dirty="0">
                <a:sym typeface="Wingdings" panose="05000000000000000000" pitchFamily="2" charset="2"/>
              </a:rPr>
              <a:t> Equipe dedicada incorporando os estrangeiros;</a:t>
            </a:r>
          </a:p>
          <a:p>
            <a:pPr marL="1704975" indent="93663">
              <a:buFont typeface="Arial" panose="020B0604020202020204" pitchFamily="34" charset="0"/>
              <a:buChar char="•"/>
            </a:pPr>
            <a:r>
              <a:rPr lang="pt-BR" sz="2000" dirty="0">
                <a:sym typeface="Wingdings" panose="05000000000000000000" pitchFamily="2" charset="2"/>
              </a:rPr>
              <a:t> Objetivos compartilhados; </a:t>
            </a:r>
          </a:p>
          <a:p>
            <a:pPr marL="1704975" indent="93663">
              <a:buFont typeface="Arial" panose="020B0604020202020204" pitchFamily="34" charset="0"/>
              <a:buChar char="•"/>
            </a:pPr>
            <a:r>
              <a:rPr lang="pt-BR" sz="2000" dirty="0">
                <a:sym typeface="Wingdings" panose="05000000000000000000" pitchFamily="2" charset="2"/>
              </a:rPr>
              <a:t> Valorização dos profissionais;</a:t>
            </a:r>
          </a:p>
          <a:p>
            <a:pPr marL="1704975" indent="93663">
              <a:buFont typeface="Arial" panose="020B0604020202020204" pitchFamily="34" charset="0"/>
              <a:buChar char="•"/>
            </a:pPr>
            <a:r>
              <a:rPr lang="pt-BR" sz="2000" dirty="0">
                <a:sym typeface="Wingdings" panose="05000000000000000000" pitchFamily="2" charset="2"/>
              </a:rPr>
              <a:t> Motivação da equipe com excelentes resultados;</a:t>
            </a:r>
            <a:endParaRPr lang="pt-BR" sz="2400" dirty="0"/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F3343F50-28AD-4B9A-98BD-0771DA5116C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18394" y="184756"/>
            <a:ext cx="3444252" cy="2195711"/>
          </a:xfrm>
          <a:prstGeom prst="rect">
            <a:avLst/>
          </a:prstGeom>
        </p:spPr>
      </p:pic>
      <p:pic>
        <p:nvPicPr>
          <p:cNvPr id="24" name="Imagem 23">
            <a:extLst>
              <a:ext uri="{FF2B5EF4-FFF2-40B4-BE49-F238E27FC236}">
                <a16:creationId xmlns:a16="http://schemas.microsoft.com/office/drawing/2014/main" id="{922A7D54-8D62-40AD-86C1-0AD29915E3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85334" y="4302482"/>
            <a:ext cx="972000" cy="972000"/>
          </a:xfrm>
          <a:prstGeom prst="rect">
            <a:avLst/>
          </a:prstGeom>
        </p:spPr>
      </p:pic>
      <p:pic>
        <p:nvPicPr>
          <p:cNvPr id="27" name="Imagem 26">
            <a:extLst>
              <a:ext uri="{FF2B5EF4-FFF2-40B4-BE49-F238E27FC236}">
                <a16:creationId xmlns:a16="http://schemas.microsoft.com/office/drawing/2014/main" id="{4A3412FF-F914-430A-ADBC-FEFAC7F540D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043197" y="5146971"/>
            <a:ext cx="968436" cy="972000"/>
          </a:xfrm>
          <a:prstGeom prst="rect">
            <a:avLst/>
          </a:prstGeom>
        </p:spPr>
      </p:pic>
      <p:pic>
        <p:nvPicPr>
          <p:cNvPr id="29" name="Imagem 28">
            <a:extLst>
              <a:ext uri="{FF2B5EF4-FFF2-40B4-BE49-F238E27FC236}">
                <a16:creationId xmlns:a16="http://schemas.microsoft.com/office/drawing/2014/main" id="{ACE51834-9C14-4012-9E0B-A01D5B44744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103733" y="5146971"/>
            <a:ext cx="972000" cy="972000"/>
          </a:xfrm>
          <a:prstGeom prst="rect">
            <a:avLst/>
          </a:prstGeom>
        </p:spPr>
      </p:pic>
      <p:pic>
        <p:nvPicPr>
          <p:cNvPr id="30" name="Imagem 29">
            <a:extLst>
              <a:ext uri="{FF2B5EF4-FFF2-40B4-BE49-F238E27FC236}">
                <a16:creationId xmlns:a16="http://schemas.microsoft.com/office/drawing/2014/main" id="{A3BE8B90-4690-475B-889F-855245A526E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545469" y="4302482"/>
            <a:ext cx="972000" cy="972000"/>
          </a:xfrm>
          <a:prstGeom prst="rect">
            <a:avLst/>
          </a:prstGeom>
        </p:spPr>
      </p:pic>
      <p:pic>
        <p:nvPicPr>
          <p:cNvPr id="31" name="Imagem 30">
            <a:extLst>
              <a:ext uri="{FF2B5EF4-FFF2-40B4-BE49-F238E27FC236}">
                <a16:creationId xmlns:a16="http://schemas.microsoft.com/office/drawing/2014/main" id="{BF00428C-53ED-4FC2-B878-B024EEB644E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075733" y="5146971"/>
            <a:ext cx="972000" cy="97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938333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1">
            <a:extLst>
              <a:ext uri="{FF2B5EF4-FFF2-40B4-BE49-F238E27FC236}">
                <a16:creationId xmlns:a16="http://schemas.microsoft.com/office/drawing/2014/main" id="{789EC2AC-B9AE-4FE5-959A-BE7A3D0B66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5649" y="122549"/>
            <a:ext cx="11095960" cy="593889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en-US" sz="3600" b="1" dirty="0" err="1">
                <a:solidFill>
                  <a:schemeClr val="accent1">
                    <a:lumMod val="75000"/>
                  </a:schemeClr>
                </a:solidFill>
                <a:latin typeface="+mn-lt"/>
              </a:rPr>
              <a:t>Considerações</a:t>
            </a:r>
            <a:r>
              <a:rPr lang="en-US" sz="3600" b="1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 </a:t>
            </a:r>
            <a:r>
              <a:rPr lang="en-US" sz="3600" b="1" dirty="0" err="1">
                <a:solidFill>
                  <a:schemeClr val="accent1">
                    <a:lumMod val="75000"/>
                  </a:schemeClr>
                </a:solidFill>
                <a:latin typeface="+mn-lt"/>
              </a:rPr>
              <a:t>finais</a:t>
            </a:r>
            <a:endParaRPr lang="en-US" sz="3600" b="1" dirty="0">
              <a:solidFill>
                <a:schemeClr val="accent1">
                  <a:lumMod val="75000"/>
                </a:schemeClr>
              </a:solidFill>
              <a:latin typeface="+mn-lt"/>
            </a:endParaRP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71CC3646-C3C2-41C5-8E10-75109C3B0E59}"/>
              </a:ext>
            </a:extLst>
          </p:cNvPr>
          <p:cNvSpPr txBox="1"/>
          <p:nvPr/>
        </p:nvSpPr>
        <p:spPr>
          <a:xfrm>
            <a:off x="422960" y="1191587"/>
            <a:ext cx="11485506" cy="4708981"/>
          </a:xfrm>
          <a:prstGeom prst="rect">
            <a:avLst/>
          </a:prstGeom>
          <a:solidFill>
            <a:srgbClr val="FF610F">
              <a:alpha val="10000"/>
            </a:srgbClr>
          </a:solidFill>
          <a:ln w="28575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>
            <a:defPPr>
              <a:defRPr lang="pt-BR"/>
            </a:defPPr>
            <a:lvl1pPr marL="360000">
              <a:spcAft>
                <a:spcPts val="1800"/>
              </a:spcAft>
              <a:buFont typeface="Arial" panose="020B0604020202020204" pitchFamily="34" charset="0"/>
              <a:buChar char="•"/>
              <a:defRPr sz="2400"/>
            </a:lvl1pPr>
          </a:lstStyle>
          <a:p>
            <a:pPr marL="180000" indent="-342900">
              <a:spcBef>
                <a:spcPts val="1800"/>
              </a:spcBef>
              <a:spcAft>
                <a:spcPts val="2400"/>
              </a:spcAft>
              <a:buSzPct val="200000"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pt-BR" dirty="0"/>
              <a:t>Projetos no </a:t>
            </a:r>
            <a:r>
              <a:rPr lang="pt-BR" dirty="0" err="1"/>
              <a:t>Pré</a:t>
            </a:r>
            <a:r>
              <a:rPr lang="pt-BR" dirty="0"/>
              <a:t>-Sal são complexos, têm elevados riscos e                                                          múltiplas facetas </a:t>
            </a:r>
            <a:r>
              <a:rPr lang="pt-BR" dirty="0">
                <a:sym typeface="Wingdings" panose="05000000000000000000" pitchFamily="2" charset="2"/>
              </a:rPr>
              <a:t> Megaprojetos</a:t>
            </a:r>
            <a:r>
              <a:rPr lang="pt-BR" dirty="0"/>
              <a:t>;</a:t>
            </a:r>
          </a:p>
          <a:p>
            <a:pPr marL="180000" indent="-342900">
              <a:spcAft>
                <a:spcPts val="2400"/>
              </a:spcAft>
              <a:buSzPct val="200000"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pt-BR" dirty="0"/>
              <a:t>Condicionantes internas e externas precisam ser mitigadas                                                                através da combinação equilibrada de Resiliência e Robustez;</a:t>
            </a:r>
            <a:endParaRPr lang="pt-BR" dirty="0">
              <a:sym typeface="Wingdings" panose="05000000000000000000" pitchFamily="2" charset="2"/>
            </a:endParaRPr>
          </a:p>
          <a:p>
            <a:pPr marL="180000" indent="-342900">
              <a:buSzPct val="200000"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pt-BR" dirty="0"/>
              <a:t>Ferramentas e metodologia para gestão de projetos no </a:t>
            </a:r>
            <a:r>
              <a:rPr lang="pt-BR" dirty="0" err="1"/>
              <a:t>Pré</a:t>
            </a:r>
            <a:r>
              <a:rPr lang="pt-BR" dirty="0"/>
              <a:t>-Sal são imprescindíveis:</a:t>
            </a:r>
          </a:p>
          <a:p>
            <a:pPr marL="989013" indent="173038">
              <a:buSzPct val="200000"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pt-BR" sz="2000" dirty="0"/>
              <a:t>A aprovação faseada (FEL), trazendo segurança ao decisor com um nível adequado de definição;</a:t>
            </a:r>
          </a:p>
          <a:p>
            <a:pPr marL="989013" indent="173038">
              <a:buSzPct val="200000"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pt-BR" sz="2000" dirty="0"/>
              <a:t>Informações são fundamentais, em especial quando os dados disponíveis geram insegurança;</a:t>
            </a:r>
          </a:p>
          <a:p>
            <a:pPr marL="989013" indent="173038">
              <a:buSzPct val="200000"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pt-BR" sz="2000" dirty="0"/>
              <a:t>Uma estrutura </a:t>
            </a:r>
            <a:r>
              <a:rPr lang="pt-BR" sz="2000" dirty="0" err="1"/>
              <a:t>projetizada</a:t>
            </a:r>
            <a:r>
              <a:rPr lang="pt-BR" sz="2000" dirty="0"/>
              <a:t> apresenta ganhos significativos em projetos de grande magnitude;</a:t>
            </a:r>
          </a:p>
          <a:p>
            <a:pPr marL="989013" indent="173038">
              <a:buSzPct val="200000"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</a:pPr>
            <a:r>
              <a:rPr lang="pt-BR" sz="2000" dirty="0"/>
              <a:t>Melhores práticas, como as Lições Aprendidas, são fator chave para o sucesso;</a:t>
            </a:r>
          </a:p>
        </p:txBody>
      </p:sp>
      <p:pic>
        <p:nvPicPr>
          <p:cNvPr id="16386" name="Picture 2" descr="Como se preparar bem para o encerramento do ano letivo">
            <a:extLst>
              <a:ext uri="{FF2B5EF4-FFF2-40B4-BE49-F238E27FC236}">
                <a16:creationId xmlns:a16="http://schemas.microsoft.com/office/drawing/2014/main" id="{4BEA6383-736F-4E88-9E72-EFA5CACADBA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63815" y="316809"/>
            <a:ext cx="4202938" cy="2426392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36195" dist="12700" dir="11400000" algn="tl" rotWithShape="0">
              <a:srgbClr val="000000">
                <a:alpha val="33000"/>
              </a:srgbClr>
            </a:outerShdw>
          </a:effectLst>
          <a:scene3d>
            <a:camera prst="perspectiveContrastingLeftFacing">
              <a:rot lat="540000" lon="2100000" rev="0"/>
            </a:camera>
            <a:lightRig rig="soft" dir="t"/>
          </a:scene3d>
          <a:sp3d contourW="12700" prstMaterial="matte">
            <a:bevelT w="63500" h="508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136036247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>
            <a:extLst>
              <a:ext uri="{FF2B5EF4-FFF2-40B4-BE49-F238E27FC236}">
                <a16:creationId xmlns:a16="http://schemas.microsoft.com/office/drawing/2014/main" id="{117ADB57-720D-4469-A8E7-AF333EC10E37}"/>
              </a:ext>
            </a:extLst>
          </p:cNvPr>
          <p:cNvPicPr>
            <a:picLocks noChangeAspect="1"/>
          </p:cNvPicPr>
          <p:nvPr/>
        </p:nvPicPr>
        <p:blipFill>
          <a:blip r:embed="rId2">
            <a:lum bright="70000" contrast="-70000"/>
          </a:blip>
          <a:stretch>
            <a:fillRect/>
          </a:stretch>
        </p:blipFill>
        <p:spPr>
          <a:xfrm>
            <a:off x="0" y="0"/>
            <a:ext cx="12191144" cy="6434872"/>
          </a:xfrm>
          <a:prstGeom prst="rect">
            <a:avLst/>
          </a:prstGeom>
        </p:spPr>
      </p:pic>
      <p:sp>
        <p:nvSpPr>
          <p:cNvPr id="4" name="object 4"/>
          <p:cNvSpPr txBox="1">
            <a:spLocks noGrp="1"/>
          </p:cNvSpPr>
          <p:nvPr>
            <p:ph type="title" idx="4294967295"/>
          </p:nvPr>
        </p:nvSpPr>
        <p:spPr>
          <a:xfrm>
            <a:off x="8283968" y="5011083"/>
            <a:ext cx="2688832" cy="442042"/>
          </a:xfrm>
          <a:prstGeom prst="rect">
            <a:avLst/>
          </a:prstGeom>
          <a:solidFill>
            <a:schemeClr val="bg1">
              <a:alpha val="48000"/>
            </a:schemeClr>
          </a:solidFill>
        </p:spPr>
        <p:txBody>
          <a:bodyPr vert="horz" wrap="square" lIns="0" tIns="72007" rIns="0" bIns="0" rtlCol="0" anchor="ctr">
            <a:spAutoFit/>
          </a:bodyPr>
          <a:lstStyle/>
          <a:p>
            <a:pPr marL="540000" marR="3081">
              <a:lnSpc>
                <a:spcPct val="100000"/>
              </a:lnSpc>
              <a:spcBef>
                <a:spcPts val="0"/>
              </a:spcBef>
            </a:pPr>
            <a:r>
              <a:rPr lang="pt-BR" sz="2400" b="1" spc="-30" dirty="0">
                <a:solidFill>
                  <a:schemeClr val="accent1">
                    <a:lumMod val="50000"/>
                  </a:schemeClr>
                </a:solidFill>
              </a:rPr>
              <a:t>Ahmed </a:t>
            </a:r>
            <a:r>
              <a:rPr lang="pt-BR" sz="2400" b="1" spc="-30" dirty="0" err="1">
                <a:solidFill>
                  <a:schemeClr val="accent1">
                    <a:lumMod val="50000"/>
                  </a:schemeClr>
                </a:solidFill>
              </a:rPr>
              <a:t>Yamani</a:t>
            </a:r>
            <a:r>
              <a:rPr lang="pt-BR" sz="500" b="1" spc="-30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endParaRPr sz="24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pic>
        <p:nvPicPr>
          <p:cNvPr id="30" name="Imagem 29">
            <a:extLst>
              <a:ext uri="{FF2B5EF4-FFF2-40B4-BE49-F238E27FC236}">
                <a16:creationId xmlns:a16="http://schemas.microsoft.com/office/drawing/2014/main" id="{49794744-33BC-4FC9-ACB6-5D25D5E2CD35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6068"/>
          <a:stretch/>
        </p:blipFill>
        <p:spPr>
          <a:xfrm>
            <a:off x="428" y="5939199"/>
            <a:ext cx="12191144" cy="955383"/>
          </a:xfrm>
          <a:prstGeom prst="rect">
            <a:avLst/>
          </a:prstGeom>
        </p:spPr>
      </p:pic>
      <p:pic>
        <p:nvPicPr>
          <p:cNvPr id="10" name="Imagem 9">
            <a:extLst>
              <a:ext uri="{FF2B5EF4-FFF2-40B4-BE49-F238E27FC236}">
                <a16:creationId xmlns:a16="http://schemas.microsoft.com/office/drawing/2014/main" id="{E560E074-D3FC-4820-8C2B-55618063142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3527" y="6449741"/>
            <a:ext cx="1754749" cy="429972"/>
          </a:xfrm>
          <a:prstGeom prst="rect">
            <a:avLst/>
          </a:prstGeom>
        </p:spPr>
      </p:pic>
      <p:sp>
        <p:nvSpPr>
          <p:cNvPr id="9" name="CaixaDeTexto 8">
            <a:extLst>
              <a:ext uri="{FF2B5EF4-FFF2-40B4-BE49-F238E27FC236}">
                <a16:creationId xmlns:a16="http://schemas.microsoft.com/office/drawing/2014/main" id="{B71B3135-986C-C1E8-0078-11A5A5E6EEA4}"/>
              </a:ext>
            </a:extLst>
          </p:cNvPr>
          <p:cNvSpPr txBox="1"/>
          <p:nvPr/>
        </p:nvSpPr>
        <p:spPr>
          <a:xfrm>
            <a:off x="725558" y="1833980"/>
            <a:ext cx="11022494" cy="276691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pt-BR" sz="4000" b="1" i="1" spc="-30" dirty="0">
                <a:solidFill>
                  <a:schemeClr val="accent1">
                    <a:lumMod val="50000"/>
                  </a:schemeClr>
                </a:solidFill>
              </a:rPr>
              <a:t>“A idade da pedra chegou ao fim, não porque faltassem pedras; a era do petróleo chegará igualmente ao fim, mas não por falta de petróleo.” </a:t>
            </a:r>
            <a:endParaRPr lang="pt-BR" sz="4000" i="1" dirty="0"/>
          </a:p>
        </p:txBody>
      </p:sp>
    </p:spTree>
    <p:extLst>
      <p:ext uri="{BB962C8B-B14F-4D97-AF65-F5344CB8AC3E}">
        <p14:creationId xmlns:p14="http://schemas.microsoft.com/office/powerpoint/2010/main" val="151108775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>
            <a:extLst>
              <a:ext uri="{FF2B5EF4-FFF2-40B4-BE49-F238E27FC236}">
                <a16:creationId xmlns:a16="http://schemas.microsoft.com/office/drawing/2014/main" id="{5F8EE85A-2B92-0DCD-E2A1-AAE8FDAB20CB}"/>
              </a:ext>
            </a:extLst>
          </p:cNvPr>
          <p:cNvSpPr/>
          <p:nvPr/>
        </p:nvSpPr>
        <p:spPr>
          <a:xfrm>
            <a:off x="856" y="0"/>
            <a:ext cx="12191144" cy="6857519"/>
          </a:xfrm>
          <a:prstGeom prst="rect">
            <a:avLst/>
          </a:prstGeom>
          <a:blipFill>
            <a:blip r:embed="rId2" cstate="print">
              <a:alphaModFix amt="70000"/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4" name="object 4"/>
          <p:cNvSpPr txBox="1">
            <a:spLocks noGrp="1"/>
          </p:cNvSpPr>
          <p:nvPr>
            <p:ph type="title" idx="4294967295"/>
          </p:nvPr>
        </p:nvSpPr>
        <p:spPr>
          <a:xfrm>
            <a:off x="7418654" y="2756776"/>
            <a:ext cx="3124200" cy="811374"/>
          </a:xfrm>
          <a:prstGeom prst="rect">
            <a:avLst/>
          </a:prstGeom>
          <a:noFill/>
        </p:spPr>
        <p:txBody>
          <a:bodyPr vert="horz" wrap="square" lIns="0" tIns="72007" rIns="0" bIns="0" rtlCol="0" anchor="ctr">
            <a:spAutoFit/>
          </a:bodyPr>
          <a:lstStyle/>
          <a:p>
            <a:pPr marL="540000" marR="3081">
              <a:lnSpc>
                <a:spcPct val="100000"/>
              </a:lnSpc>
              <a:spcBef>
                <a:spcPts val="0"/>
              </a:spcBef>
            </a:pPr>
            <a:r>
              <a:rPr lang="pt-BR" sz="2400" b="1" spc="-30" dirty="0" err="1">
                <a:solidFill>
                  <a:schemeClr val="accent1">
                    <a:lumMod val="50000"/>
                  </a:schemeClr>
                </a:solidFill>
              </a:rPr>
              <a:t>Osmond</a:t>
            </a:r>
            <a:r>
              <a:rPr lang="pt-BR" sz="2400" b="1" spc="-30" dirty="0">
                <a:solidFill>
                  <a:schemeClr val="accent1">
                    <a:lumMod val="50000"/>
                  </a:schemeClr>
                </a:solidFill>
              </a:rPr>
              <a:t> Coelho Jr.</a:t>
            </a:r>
            <a:br>
              <a:rPr lang="pt-BR" sz="2400" b="1" spc="-30" dirty="0">
                <a:solidFill>
                  <a:schemeClr val="accent1">
                    <a:lumMod val="50000"/>
                  </a:schemeClr>
                </a:solidFill>
              </a:rPr>
            </a:br>
            <a:endParaRPr sz="24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6" name="object 6"/>
          <p:cNvSpPr/>
          <p:nvPr/>
        </p:nvSpPr>
        <p:spPr>
          <a:xfrm>
            <a:off x="-3164616" y="508328"/>
            <a:ext cx="311797" cy="5308271"/>
          </a:xfrm>
          <a:custGeom>
            <a:avLst/>
            <a:gdLst/>
            <a:ahLst/>
            <a:cxnLst/>
            <a:rect l="l" t="t" r="r" b="b"/>
            <a:pathLst>
              <a:path h="729614">
                <a:moveTo>
                  <a:pt x="0" y="729506"/>
                </a:moveTo>
                <a:lnTo>
                  <a:pt x="0" y="0"/>
                </a:lnTo>
              </a:path>
            </a:pathLst>
          </a:custGeom>
          <a:ln w="41883">
            <a:solidFill>
              <a:srgbClr val="FFC000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pic>
        <p:nvPicPr>
          <p:cNvPr id="30" name="Imagem 29">
            <a:extLst>
              <a:ext uri="{FF2B5EF4-FFF2-40B4-BE49-F238E27FC236}">
                <a16:creationId xmlns:a16="http://schemas.microsoft.com/office/drawing/2014/main" id="{49794744-33BC-4FC9-ACB6-5D25D5E2CD35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6068"/>
          <a:stretch/>
        </p:blipFill>
        <p:spPr>
          <a:xfrm>
            <a:off x="428" y="5939199"/>
            <a:ext cx="12191144" cy="955383"/>
          </a:xfrm>
          <a:prstGeom prst="rect">
            <a:avLst/>
          </a:prstGeom>
        </p:spPr>
      </p:pic>
      <p:pic>
        <p:nvPicPr>
          <p:cNvPr id="10" name="Imagem 9">
            <a:extLst>
              <a:ext uri="{FF2B5EF4-FFF2-40B4-BE49-F238E27FC236}">
                <a16:creationId xmlns:a16="http://schemas.microsoft.com/office/drawing/2014/main" id="{E560E074-D3FC-4820-8C2B-55618063142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3527" y="6449741"/>
            <a:ext cx="1754749" cy="429972"/>
          </a:xfrm>
          <a:prstGeom prst="rect">
            <a:avLst/>
          </a:prstGeom>
        </p:spPr>
      </p:pic>
      <p:sp>
        <p:nvSpPr>
          <p:cNvPr id="9" name="CaixaDeTexto 8">
            <a:extLst>
              <a:ext uri="{FF2B5EF4-FFF2-40B4-BE49-F238E27FC236}">
                <a16:creationId xmlns:a16="http://schemas.microsoft.com/office/drawing/2014/main" id="{B71B3135-986C-C1E8-0078-11A5A5E6EEA4}"/>
              </a:ext>
            </a:extLst>
          </p:cNvPr>
          <p:cNvSpPr txBox="1"/>
          <p:nvPr/>
        </p:nvSpPr>
        <p:spPr>
          <a:xfrm>
            <a:off x="4388236" y="1232192"/>
            <a:ext cx="6412728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3200" b="1" i="1" spc="-30" dirty="0">
                <a:solidFill>
                  <a:schemeClr val="accent1">
                    <a:lumMod val="50000"/>
                  </a:schemeClr>
                </a:solidFill>
              </a:rPr>
              <a:t>“... nesse ínterim, os projetos de E&amp;P precisam primar por sua gestão, em todas as suas diferentes dimensões.”</a:t>
            </a:r>
            <a:endParaRPr lang="pt-BR" sz="3200" i="1" dirty="0"/>
          </a:p>
        </p:txBody>
      </p:sp>
    </p:spTree>
    <p:extLst>
      <p:ext uri="{BB962C8B-B14F-4D97-AF65-F5344CB8AC3E}">
        <p14:creationId xmlns:p14="http://schemas.microsoft.com/office/powerpoint/2010/main" val="2114813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29D120-5C7B-432D-BB04-F7FF95083FC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pt-BR" sz="3600" spc="240" dirty="0"/>
              <a:t>A INDÚSTRIA DE O&amp;G  E SEUS                                    MEGA-PROJETOS</a:t>
            </a:r>
            <a:endParaRPr lang="en-US" dirty="0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BE154594-8F4C-4DE0-A583-F4202A83A48F}"/>
              </a:ext>
            </a:extLst>
          </p:cNvPr>
          <p:cNvSpPr txBox="1"/>
          <p:nvPr/>
        </p:nvSpPr>
        <p:spPr>
          <a:xfrm>
            <a:off x="541599" y="3669346"/>
            <a:ext cx="6151748" cy="2308324"/>
          </a:xfrm>
          <a:prstGeom prst="rect">
            <a:avLst/>
          </a:prstGeom>
          <a:solidFill>
            <a:srgbClr val="FF610F"/>
          </a:solidFill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400" b="1" dirty="0" err="1">
                <a:solidFill>
                  <a:schemeClr val="bg1"/>
                </a:solidFill>
                <a:latin typeface="Agrandir Bold" panose="00000800000000000000"/>
                <a:ea typeface="+mj-ea"/>
                <a:cs typeface="+mj-cs"/>
              </a:rPr>
              <a:t>Muito</a:t>
            </a:r>
            <a:r>
              <a:rPr lang="en-US" sz="4400" b="1" dirty="0">
                <a:solidFill>
                  <a:schemeClr val="bg1"/>
                </a:solidFill>
                <a:latin typeface="Agrandir Bold" panose="00000800000000000000"/>
                <a:ea typeface="+mj-ea"/>
                <a:cs typeface="+mj-cs"/>
              </a:rPr>
              <a:t> </a:t>
            </a:r>
            <a:r>
              <a:rPr lang="en-US" sz="4400" b="1" dirty="0" err="1">
                <a:solidFill>
                  <a:schemeClr val="bg1"/>
                </a:solidFill>
                <a:latin typeface="Agrandir Bold" panose="00000800000000000000"/>
                <a:ea typeface="+mj-ea"/>
                <a:cs typeface="+mj-cs"/>
              </a:rPr>
              <a:t>obrigado</a:t>
            </a:r>
            <a:r>
              <a:rPr lang="en-US" sz="4400" b="1" dirty="0">
                <a:solidFill>
                  <a:schemeClr val="bg1"/>
                </a:solidFill>
                <a:latin typeface="Agrandir Bold" panose="00000800000000000000"/>
                <a:ea typeface="+mj-ea"/>
                <a:cs typeface="+mj-cs"/>
              </a:rPr>
              <a:t> !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3600" b="1" dirty="0">
              <a:solidFill>
                <a:schemeClr val="bg1"/>
              </a:solidFill>
              <a:latin typeface="Agrandir Bold" panose="00000800000000000000"/>
              <a:ea typeface="+mj-ea"/>
              <a:cs typeface="+mj-cs"/>
            </a:endParaRPr>
          </a:p>
          <a:p>
            <a:pPr lvl="0" algn="ctr">
              <a:defRPr/>
            </a:pPr>
            <a:r>
              <a:rPr lang="en-US" sz="3200" dirty="0">
                <a:solidFill>
                  <a:schemeClr val="bg1"/>
                </a:solidFill>
                <a:latin typeface="Agrandir Bold" panose="00000800000000000000"/>
                <a:ea typeface="+mj-ea"/>
                <a:cs typeface="+mj-cs"/>
              </a:rPr>
              <a:t>https://www.presalpetroleo.gov.br/</a:t>
            </a:r>
          </a:p>
          <a:p>
            <a:pPr lvl="0" algn="ctr">
              <a:defRPr/>
            </a:pPr>
            <a:r>
              <a:rPr lang="en-US" sz="3200" dirty="0">
                <a:solidFill>
                  <a:schemeClr val="bg1"/>
                </a:solidFill>
                <a:latin typeface="Agrandir Bold" panose="00000800000000000000"/>
                <a:ea typeface="+mj-ea"/>
                <a:cs typeface="+mj-cs"/>
              </a:rPr>
              <a:t>osmond.coelho@ppsa.gov.br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26401B00-4459-49D4-8487-55BCC4EDA7B2}"/>
              </a:ext>
            </a:extLst>
          </p:cNvPr>
          <p:cNvSpPr txBox="1"/>
          <p:nvPr/>
        </p:nvSpPr>
        <p:spPr>
          <a:xfrm>
            <a:off x="7632075" y="4463187"/>
            <a:ext cx="4196342" cy="728276"/>
          </a:xfrm>
          <a:prstGeom prst="rect">
            <a:avLst/>
          </a:prstGeom>
          <a:solidFill>
            <a:srgbClr val="FF610F"/>
          </a:solidFill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4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grandir Bold" panose="00000800000000000000"/>
                <a:ea typeface="+mn-ea"/>
                <a:cs typeface="+mn-cs"/>
              </a:rPr>
              <a:t>Construction</a:t>
            </a:r>
          </a:p>
        </p:txBody>
      </p:sp>
      <p:sp>
        <p:nvSpPr>
          <p:cNvPr id="7" name="Retângulo 6">
            <a:extLst>
              <a:ext uri="{FF2B5EF4-FFF2-40B4-BE49-F238E27FC236}">
                <a16:creationId xmlns:a16="http://schemas.microsoft.com/office/drawing/2014/main" id="{0E072D8F-176F-4691-A473-6FF91B112C8C}"/>
              </a:ext>
            </a:extLst>
          </p:cNvPr>
          <p:cNvSpPr/>
          <p:nvPr/>
        </p:nvSpPr>
        <p:spPr>
          <a:xfrm>
            <a:off x="1401416" y="457200"/>
            <a:ext cx="3667735" cy="364534"/>
          </a:xfrm>
          <a:prstGeom prst="rect">
            <a:avLst/>
          </a:prstGeom>
          <a:solidFill>
            <a:srgbClr val="FF61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5BD5D7D2-8747-4DC6-BACE-0093DF02C204}"/>
              </a:ext>
            </a:extLst>
          </p:cNvPr>
          <p:cNvSpPr txBox="1"/>
          <p:nvPr/>
        </p:nvSpPr>
        <p:spPr>
          <a:xfrm>
            <a:off x="1321904" y="404314"/>
            <a:ext cx="3667735" cy="477054"/>
          </a:xfrm>
          <a:prstGeom prst="rect">
            <a:avLst/>
          </a:prstGeom>
          <a:noFill/>
        </p:spPr>
        <p:txBody>
          <a:bodyPr wrap="none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grandir Bold" panose="00000800000000000000"/>
                <a:ea typeface="+mn-ea"/>
                <a:cs typeface="+mn-cs"/>
              </a:rPr>
              <a:t>Changemakers Initiative</a:t>
            </a:r>
          </a:p>
        </p:txBody>
      </p:sp>
      <p:sp>
        <p:nvSpPr>
          <p:cNvPr id="10" name="Subtítulo 9">
            <a:extLst>
              <a:ext uri="{FF2B5EF4-FFF2-40B4-BE49-F238E27FC236}">
                <a16:creationId xmlns:a16="http://schemas.microsoft.com/office/drawing/2014/main" id="{6C2FC006-35DE-4B37-8FD3-CDBB680255B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426347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5090" name="Group 2">
            <a:extLst>
              <a:ext uri="{FF2B5EF4-FFF2-40B4-BE49-F238E27FC236}">
                <a16:creationId xmlns:a16="http://schemas.microsoft.com/office/drawing/2014/main" id="{1858309E-B581-46B2-A074-BD05AC6EFB01}"/>
              </a:ext>
            </a:extLst>
          </p:cNvPr>
          <p:cNvGrpSpPr>
            <a:grpSpLocks/>
          </p:cNvGrpSpPr>
          <p:nvPr/>
        </p:nvGrpSpPr>
        <p:grpSpPr bwMode="auto">
          <a:xfrm>
            <a:off x="889131" y="897566"/>
            <a:ext cx="10413738" cy="5363056"/>
            <a:chOff x="151" y="807"/>
            <a:chExt cx="5534" cy="2850"/>
          </a:xfrm>
        </p:grpSpPr>
        <p:pic>
          <p:nvPicPr>
            <p:cNvPr id="345091" name="Picture 3" descr="164 - MiddleJurassic-Bathonian-Callovian">
              <a:extLst>
                <a:ext uri="{FF2B5EF4-FFF2-40B4-BE49-F238E27FC236}">
                  <a16:creationId xmlns:a16="http://schemas.microsoft.com/office/drawing/2014/main" id="{A47804F0-BC62-466B-95B0-F66293A5FC8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1" y="807"/>
              <a:ext cx="5534" cy="28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45092" name="Text Box 4">
              <a:extLst>
                <a:ext uri="{FF2B5EF4-FFF2-40B4-BE49-F238E27FC236}">
                  <a16:creationId xmlns:a16="http://schemas.microsoft.com/office/drawing/2014/main" id="{C63B42BB-B568-498C-8464-6F7AE488092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89" y="2280"/>
              <a:ext cx="887" cy="33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1428" tIns="45714" rIns="91428" bIns="45714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altLang="pt-BR" sz="1400">
                  <a:solidFill>
                    <a:srgbClr val="FFFFFF"/>
                  </a:solidFill>
                  <a:latin typeface="Verdana" panose="020B0604030504040204" pitchFamily="34" charset="0"/>
                </a:rPr>
                <a:t>164 Milhões 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altLang="pt-BR" sz="1400">
                  <a:solidFill>
                    <a:srgbClr val="FFFFFF"/>
                  </a:solidFill>
                  <a:latin typeface="Verdana" panose="020B0604030504040204" pitchFamily="34" charset="0"/>
                </a:rPr>
                <a:t>de anos atrás</a:t>
              </a:r>
            </a:p>
          </p:txBody>
        </p:sp>
      </p:grpSp>
      <p:grpSp>
        <p:nvGrpSpPr>
          <p:cNvPr id="345093" name="Group 5">
            <a:extLst>
              <a:ext uri="{FF2B5EF4-FFF2-40B4-BE49-F238E27FC236}">
                <a16:creationId xmlns:a16="http://schemas.microsoft.com/office/drawing/2014/main" id="{8983508D-7408-449D-A2FD-E1C809D136D5}"/>
              </a:ext>
            </a:extLst>
          </p:cNvPr>
          <p:cNvGrpSpPr>
            <a:grpSpLocks/>
          </p:cNvGrpSpPr>
          <p:nvPr/>
        </p:nvGrpSpPr>
        <p:grpSpPr bwMode="auto">
          <a:xfrm>
            <a:off x="889131" y="897566"/>
            <a:ext cx="10413738" cy="5363056"/>
            <a:chOff x="151" y="807"/>
            <a:chExt cx="5534" cy="2850"/>
          </a:xfrm>
        </p:grpSpPr>
        <p:pic>
          <p:nvPicPr>
            <p:cNvPr id="345094" name="Picture 6" descr="152 - LateJurassic-earlyTithonian">
              <a:extLst>
                <a:ext uri="{FF2B5EF4-FFF2-40B4-BE49-F238E27FC236}">
                  <a16:creationId xmlns:a16="http://schemas.microsoft.com/office/drawing/2014/main" id="{9A586A86-C956-4D82-9BED-C3544AEC9AD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1" y="807"/>
              <a:ext cx="5534" cy="28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45095" name="Rectangle 7">
              <a:extLst>
                <a:ext uri="{FF2B5EF4-FFF2-40B4-BE49-F238E27FC236}">
                  <a16:creationId xmlns:a16="http://schemas.microsoft.com/office/drawing/2014/main" id="{1050B11C-A24C-42B5-A200-7BC7B1C8C0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3" y="2280"/>
              <a:ext cx="1224" cy="33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1428" tIns="45714" rIns="91428" bIns="45714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altLang="pt-BR" sz="1400">
                  <a:solidFill>
                    <a:srgbClr val="FFFFFF"/>
                  </a:solidFill>
                  <a:latin typeface="Verdana" panose="020B0604030504040204" pitchFamily="34" charset="0"/>
                </a:rPr>
                <a:t>152 Milhões 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altLang="pt-BR" sz="1400">
                  <a:solidFill>
                    <a:srgbClr val="FFFFFF"/>
                  </a:solidFill>
                  <a:latin typeface="Verdana" panose="020B0604030504040204" pitchFamily="34" charset="0"/>
                </a:rPr>
                <a:t>de anos atrás</a:t>
              </a:r>
            </a:p>
          </p:txBody>
        </p:sp>
      </p:grpSp>
      <p:grpSp>
        <p:nvGrpSpPr>
          <p:cNvPr id="345096" name="Group 8">
            <a:extLst>
              <a:ext uri="{FF2B5EF4-FFF2-40B4-BE49-F238E27FC236}">
                <a16:creationId xmlns:a16="http://schemas.microsoft.com/office/drawing/2014/main" id="{74E42554-51B9-4FE6-A581-34ADDFB6BE1C}"/>
              </a:ext>
            </a:extLst>
          </p:cNvPr>
          <p:cNvGrpSpPr>
            <a:grpSpLocks/>
          </p:cNvGrpSpPr>
          <p:nvPr/>
        </p:nvGrpSpPr>
        <p:grpSpPr bwMode="auto">
          <a:xfrm>
            <a:off x="889131" y="897566"/>
            <a:ext cx="10413738" cy="5363056"/>
            <a:chOff x="151" y="807"/>
            <a:chExt cx="5534" cy="2850"/>
          </a:xfrm>
        </p:grpSpPr>
        <p:pic>
          <p:nvPicPr>
            <p:cNvPr id="345097" name="Picture 9" descr="130 - Early Barremian">
              <a:extLst>
                <a:ext uri="{FF2B5EF4-FFF2-40B4-BE49-F238E27FC236}">
                  <a16:creationId xmlns:a16="http://schemas.microsoft.com/office/drawing/2014/main" id="{22369B08-4E22-46F1-852B-50EFF0FCC13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1" y="807"/>
              <a:ext cx="5534" cy="28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45098" name="Rectangle 10">
              <a:extLst>
                <a:ext uri="{FF2B5EF4-FFF2-40B4-BE49-F238E27FC236}">
                  <a16:creationId xmlns:a16="http://schemas.microsoft.com/office/drawing/2014/main" id="{BF4BCBD3-27F8-4075-A721-B077A10D01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3" y="2280"/>
              <a:ext cx="1224" cy="32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1428" tIns="45714" rIns="91428" bIns="45714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altLang="pt-BR" sz="1400">
                  <a:solidFill>
                    <a:srgbClr val="FFFFFF"/>
                  </a:solidFill>
                  <a:latin typeface="Verdana" panose="020B0604030504040204" pitchFamily="34" charset="0"/>
                </a:rPr>
                <a:t>130 Milhões 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altLang="pt-BR" sz="1400">
                  <a:solidFill>
                    <a:srgbClr val="FFFFFF"/>
                  </a:solidFill>
                  <a:latin typeface="Verdana" panose="020B0604030504040204" pitchFamily="34" charset="0"/>
                </a:rPr>
                <a:t>de anos atrás</a:t>
              </a:r>
            </a:p>
          </p:txBody>
        </p:sp>
      </p:grpSp>
      <p:grpSp>
        <p:nvGrpSpPr>
          <p:cNvPr id="345099" name="Group 11">
            <a:extLst>
              <a:ext uri="{FF2B5EF4-FFF2-40B4-BE49-F238E27FC236}">
                <a16:creationId xmlns:a16="http://schemas.microsoft.com/office/drawing/2014/main" id="{D97E9DFF-3E13-4E18-B516-F3ADDE882449}"/>
              </a:ext>
            </a:extLst>
          </p:cNvPr>
          <p:cNvGrpSpPr>
            <a:grpSpLocks/>
          </p:cNvGrpSpPr>
          <p:nvPr/>
        </p:nvGrpSpPr>
        <p:grpSpPr bwMode="auto">
          <a:xfrm>
            <a:off x="889131" y="897566"/>
            <a:ext cx="10413738" cy="5363056"/>
            <a:chOff x="151" y="807"/>
            <a:chExt cx="5534" cy="2850"/>
          </a:xfrm>
        </p:grpSpPr>
        <p:pic>
          <p:nvPicPr>
            <p:cNvPr id="345100" name="Picture 12" descr="122 - Early Aptian">
              <a:extLst>
                <a:ext uri="{FF2B5EF4-FFF2-40B4-BE49-F238E27FC236}">
                  <a16:creationId xmlns:a16="http://schemas.microsoft.com/office/drawing/2014/main" id="{4075D895-6DFB-4A64-9962-877C740EC0B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1" y="807"/>
              <a:ext cx="5534" cy="28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45101" name="Rectangle 13">
              <a:extLst>
                <a:ext uri="{FF2B5EF4-FFF2-40B4-BE49-F238E27FC236}">
                  <a16:creationId xmlns:a16="http://schemas.microsoft.com/office/drawing/2014/main" id="{D8C03B87-AADA-45D6-8B6E-059B669B09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3" y="2280"/>
              <a:ext cx="1224" cy="32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1428" tIns="45714" rIns="91428" bIns="45714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altLang="pt-BR" sz="1400">
                  <a:solidFill>
                    <a:srgbClr val="FFFFFF"/>
                  </a:solidFill>
                  <a:latin typeface="Verdana" panose="020B0604030504040204" pitchFamily="34" charset="0"/>
                </a:rPr>
                <a:t>122 Milhões 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altLang="pt-BR" sz="1400">
                  <a:solidFill>
                    <a:srgbClr val="FFFFFF"/>
                  </a:solidFill>
                  <a:latin typeface="Verdana" panose="020B0604030504040204" pitchFamily="34" charset="0"/>
                </a:rPr>
                <a:t>de anos atrás</a:t>
              </a:r>
            </a:p>
          </p:txBody>
        </p:sp>
      </p:grpSp>
      <p:grpSp>
        <p:nvGrpSpPr>
          <p:cNvPr id="345102" name="Group 14">
            <a:extLst>
              <a:ext uri="{FF2B5EF4-FFF2-40B4-BE49-F238E27FC236}">
                <a16:creationId xmlns:a16="http://schemas.microsoft.com/office/drawing/2014/main" id="{B7B707E7-92F2-4CE9-A841-B6B53557CB81}"/>
              </a:ext>
            </a:extLst>
          </p:cNvPr>
          <p:cNvGrpSpPr>
            <a:grpSpLocks/>
          </p:cNvGrpSpPr>
          <p:nvPr/>
        </p:nvGrpSpPr>
        <p:grpSpPr bwMode="auto">
          <a:xfrm>
            <a:off x="889131" y="897566"/>
            <a:ext cx="10413738" cy="5363056"/>
            <a:chOff x="151" y="807"/>
            <a:chExt cx="5534" cy="2850"/>
          </a:xfrm>
        </p:grpSpPr>
        <p:pic>
          <p:nvPicPr>
            <p:cNvPr id="345103" name="Picture 15" descr="108 - EarlyAlbian">
              <a:extLst>
                <a:ext uri="{FF2B5EF4-FFF2-40B4-BE49-F238E27FC236}">
                  <a16:creationId xmlns:a16="http://schemas.microsoft.com/office/drawing/2014/main" id="{A5495B7C-042B-4B42-B7C1-C29AC0B5C4D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1" y="807"/>
              <a:ext cx="5534" cy="28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45104" name="Rectangle 16">
              <a:extLst>
                <a:ext uri="{FF2B5EF4-FFF2-40B4-BE49-F238E27FC236}">
                  <a16:creationId xmlns:a16="http://schemas.microsoft.com/office/drawing/2014/main" id="{506BE302-E673-4D4E-8B8C-D029E493CC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3" y="2280"/>
              <a:ext cx="1224" cy="32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1428" tIns="45714" rIns="91428" bIns="45714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altLang="pt-BR" sz="1400">
                  <a:solidFill>
                    <a:srgbClr val="FFFFFF"/>
                  </a:solidFill>
                  <a:latin typeface="Verdana" panose="020B0604030504040204" pitchFamily="34" charset="0"/>
                </a:rPr>
                <a:t>108 Milhões 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altLang="pt-BR" sz="1400">
                  <a:solidFill>
                    <a:srgbClr val="FFFFFF"/>
                  </a:solidFill>
                  <a:latin typeface="Verdana" panose="020B0604030504040204" pitchFamily="34" charset="0"/>
                </a:rPr>
                <a:t>de anos atrás</a:t>
              </a:r>
            </a:p>
          </p:txBody>
        </p:sp>
      </p:grpSp>
      <p:grpSp>
        <p:nvGrpSpPr>
          <p:cNvPr id="345105" name="Group 17">
            <a:extLst>
              <a:ext uri="{FF2B5EF4-FFF2-40B4-BE49-F238E27FC236}">
                <a16:creationId xmlns:a16="http://schemas.microsoft.com/office/drawing/2014/main" id="{B29FC9BF-04C9-4E5B-89D0-22B6197C6AF2}"/>
              </a:ext>
            </a:extLst>
          </p:cNvPr>
          <p:cNvGrpSpPr>
            <a:grpSpLocks/>
          </p:cNvGrpSpPr>
          <p:nvPr/>
        </p:nvGrpSpPr>
        <p:grpSpPr bwMode="auto">
          <a:xfrm>
            <a:off x="889131" y="897566"/>
            <a:ext cx="10413738" cy="5363056"/>
            <a:chOff x="151" y="807"/>
            <a:chExt cx="5534" cy="2850"/>
          </a:xfrm>
        </p:grpSpPr>
        <p:pic>
          <p:nvPicPr>
            <p:cNvPr id="345106" name="Picture 18" descr="079 - Middle Campanian">
              <a:extLst>
                <a:ext uri="{FF2B5EF4-FFF2-40B4-BE49-F238E27FC236}">
                  <a16:creationId xmlns:a16="http://schemas.microsoft.com/office/drawing/2014/main" id="{78ECE2C0-7BB0-4E64-9592-69965E02FB6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1" y="807"/>
              <a:ext cx="5534" cy="28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45107" name="Rectangle 19">
              <a:extLst>
                <a:ext uri="{FF2B5EF4-FFF2-40B4-BE49-F238E27FC236}">
                  <a16:creationId xmlns:a16="http://schemas.microsoft.com/office/drawing/2014/main" id="{ED1FEC04-2121-4DCD-BE21-5E53215482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3" y="2280"/>
              <a:ext cx="1224" cy="32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1428" tIns="45714" rIns="91428" bIns="45714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altLang="pt-BR" sz="1400">
                  <a:solidFill>
                    <a:srgbClr val="FFFFFF"/>
                  </a:solidFill>
                  <a:latin typeface="Verdana" panose="020B0604030504040204" pitchFamily="34" charset="0"/>
                </a:rPr>
                <a:t>79 Milhões 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altLang="pt-BR" sz="1400">
                  <a:solidFill>
                    <a:srgbClr val="FFFFFF"/>
                  </a:solidFill>
                  <a:latin typeface="Verdana" panose="020B0604030504040204" pitchFamily="34" charset="0"/>
                </a:rPr>
                <a:t>de anos atrás</a:t>
              </a:r>
            </a:p>
          </p:txBody>
        </p:sp>
      </p:grpSp>
      <p:grpSp>
        <p:nvGrpSpPr>
          <p:cNvPr id="345108" name="Group 20">
            <a:extLst>
              <a:ext uri="{FF2B5EF4-FFF2-40B4-BE49-F238E27FC236}">
                <a16:creationId xmlns:a16="http://schemas.microsoft.com/office/drawing/2014/main" id="{81B96CD0-77D0-4D1A-BBE5-32E7B54BDF31}"/>
              </a:ext>
            </a:extLst>
          </p:cNvPr>
          <p:cNvGrpSpPr>
            <a:grpSpLocks/>
          </p:cNvGrpSpPr>
          <p:nvPr/>
        </p:nvGrpSpPr>
        <p:grpSpPr bwMode="auto">
          <a:xfrm>
            <a:off x="889131" y="897566"/>
            <a:ext cx="10413738" cy="5363056"/>
            <a:chOff x="151" y="807"/>
            <a:chExt cx="5534" cy="2850"/>
          </a:xfrm>
        </p:grpSpPr>
        <p:pic>
          <p:nvPicPr>
            <p:cNvPr id="345109" name="Picture 21" descr="049 - Early-Middle Eocene-Ypresian-Lutetian">
              <a:extLst>
                <a:ext uri="{FF2B5EF4-FFF2-40B4-BE49-F238E27FC236}">
                  <a16:creationId xmlns:a16="http://schemas.microsoft.com/office/drawing/2014/main" id="{51354327-42F9-473B-A95A-516273FE7BE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1" y="807"/>
              <a:ext cx="5534" cy="28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45110" name="Rectangle 22">
              <a:extLst>
                <a:ext uri="{FF2B5EF4-FFF2-40B4-BE49-F238E27FC236}">
                  <a16:creationId xmlns:a16="http://schemas.microsoft.com/office/drawing/2014/main" id="{9245AD95-DE97-4412-8C9E-C58E3A72A8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7" y="2280"/>
              <a:ext cx="1224" cy="32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1428" tIns="45714" rIns="91428" bIns="45714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altLang="pt-BR" sz="1400">
                  <a:solidFill>
                    <a:srgbClr val="FFFFFF"/>
                  </a:solidFill>
                  <a:latin typeface="Verdana" panose="020B0604030504040204" pitchFamily="34" charset="0"/>
                </a:rPr>
                <a:t>49 Milhões 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altLang="pt-BR" sz="1400">
                  <a:solidFill>
                    <a:srgbClr val="FFFFFF"/>
                  </a:solidFill>
                  <a:latin typeface="Verdana" panose="020B0604030504040204" pitchFamily="34" charset="0"/>
                </a:rPr>
                <a:t>de anos atrás</a:t>
              </a:r>
            </a:p>
          </p:txBody>
        </p:sp>
      </p:grpSp>
      <p:grpSp>
        <p:nvGrpSpPr>
          <p:cNvPr id="345111" name="Group 23">
            <a:extLst>
              <a:ext uri="{FF2B5EF4-FFF2-40B4-BE49-F238E27FC236}">
                <a16:creationId xmlns:a16="http://schemas.microsoft.com/office/drawing/2014/main" id="{55B3B77F-C02A-40B8-9A80-DA89ED3E97BF}"/>
              </a:ext>
            </a:extLst>
          </p:cNvPr>
          <p:cNvGrpSpPr>
            <a:grpSpLocks/>
          </p:cNvGrpSpPr>
          <p:nvPr/>
        </p:nvGrpSpPr>
        <p:grpSpPr bwMode="auto">
          <a:xfrm>
            <a:off x="889131" y="935666"/>
            <a:ext cx="10413738" cy="5363056"/>
            <a:chOff x="151" y="807"/>
            <a:chExt cx="5534" cy="2850"/>
          </a:xfrm>
        </p:grpSpPr>
        <p:grpSp>
          <p:nvGrpSpPr>
            <p:cNvPr id="345112" name="Group 24">
              <a:extLst>
                <a:ext uri="{FF2B5EF4-FFF2-40B4-BE49-F238E27FC236}">
                  <a16:creationId xmlns:a16="http://schemas.microsoft.com/office/drawing/2014/main" id="{582FCC5A-FA48-486F-B26A-B2ACCD364381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51" y="807"/>
              <a:ext cx="5534" cy="2850"/>
              <a:chOff x="151" y="807"/>
              <a:chExt cx="5534" cy="2850"/>
            </a:xfrm>
          </p:grpSpPr>
          <p:pic>
            <p:nvPicPr>
              <p:cNvPr id="345113" name="Picture 25" descr="000 - Holoceno">
                <a:extLst>
                  <a:ext uri="{FF2B5EF4-FFF2-40B4-BE49-F238E27FC236}">
                    <a16:creationId xmlns:a16="http://schemas.microsoft.com/office/drawing/2014/main" id="{F96CA8F3-D22B-4EDE-B1F0-344F033D408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51" y="807"/>
                <a:ext cx="5534" cy="285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345114" name="Rectangle 26">
                <a:extLst>
                  <a:ext uri="{FF2B5EF4-FFF2-40B4-BE49-F238E27FC236}">
                    <a16:creationId xmlns:a16="http://schemas.microsoft.com/office/drawing/2014/main" id="{01939254-941E-4640-88AA-00B8ACD9230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6" y="2280"/>
                <a:ext cx="1224" cy="32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1428" tIns="45714" rIns="91428" bIns="45714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pt-BR" altLang="pt-BR" sz="1400" b="1" dirty="0">
                    <a:solidFill>
                      <a:srgbClr val="FFFFFF"/>
                    </a:solidFill>
                    <a:latin typeface="Verdana" panose="020B0604030504040204" pitchFamily="34" charset="0"/>
                  </a:rPr>
                  <a:t>Planeta Terra hoje</a:t>
                </a:r>
              </a:p>
            </p:txBody>
          </p:sp>
        </p:grpSp>
        <p:sp>
          <p:nvSpPr>
            <p:cNvPr id="345115" name="Text Box 27">
              <a:extLst>
                <a:ext uri="{FF2B5EF4-FFF2-40B4-BE49-F238E27FC236}">
                  <a16:creationId xmlns:a16="http://schemas.microsoft.com/office/drawing/2014/main" id="{5D6699B2-5B02-4E18-B0FB-4E2C0B431CD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586" y="3216"/>
              <a:ext cx="116" cy="21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1428" tIns="45714" rIns="91428" bIns="45714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pt-BR" altLang="pt-BR" sz="1600">
                <a:solidFill>
                  <a:srgbClr val="000000"/>
                </a:solidFill>
                <a:latin typeface="Verdana" panose="020B0604030504040204" pitchFamily="34" charset="0"/>
              </a:endParaRPr>
            </a:p>
          </p:txBody>
        </p:sp>
      </p:grpSp>
      <p:sp>
        <p:nvSpPr>
          <p:cNvPr id="29" name="Título 1">
            <a:extLst>
              <a:ext uri="{FF2B5EF4-FFF2-40B4-BE49-F238E27FC236}">
                <a16:creationId xmlns:a16="http://schemas.microsoft.com/office/drawing/2014/main" id="{8723F13E-6474-4C69-A5F5-FC72325E1E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5649" y="122549"/>
            <a:ext cx="11095960" cy="593889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en-US" sz="3600" b="1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O </a:t>
            </a:r>
            <a:r>
              <a:rPr lang="en-US" sz="3600" b="1" dirty="0" err="1">
                <a:solidFill>
                  <a:schemeClr val="accent1">
                    <a:lumMod val="75000"/>
                  </a:schemeClr>
                </a:solidFill>
                <a:latin typeface="+mn-lt"/>
              </a:rPr>
              <a:t>surgimento</a:t>
            </a:r>
            <a:r>
              <a:rPr lang="en-US" sz="3600" b="1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 do </a:t>
            </a:r>
            <a:r>
              <a:rPr lang="en-US" sz="3600" b="1" dirty="0" err="1">
                <a:solidFill>
                  <a:schemeClr val="accent1">
                    <a:lumMod val="75000"/>
                  </a:schemeClr>
                </a:solidFill>
                <a:latin typeface="+mn-lt"/>
              </a:rPr>
              <a:t>Pré</a:t>
            </a:r>
            <a:r>
              <a:rPr lang="en-US" sz="3600" b="1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-Sal</a:t>
            </a:r>
          </a:p>
        </p:txBody>
      </p:sp>
    </p:spTree>
    <p:extLst>
      <p:ext uri="{BB962C8B-B14F-4D97-AF65-F5344CB8AC3E}">
        <p14:creationId xmlns:p14="http://schemas.microsoft.com/office/powerpoint/2010/main" val="36020763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50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50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 nodeType="clickPar">
                      <p:stCondLst>
                        <p:cond delay="indefinite"/>
                      </p:stCondLst>
                      <p:childTnLst>
                        <p:par>
                          <p:cTn id="1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50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50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 nodeType="clickPar">
                      <p:stCondLst>
                        <p:cond delay="indefinite"/>
                      </p:stCondLst>
                      <p:childTnLst>
                        <p:par>
                          <p:cTn id="1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50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22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50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 nodeType="clickPar">
                      <p:stCondLst>
                        <p:cond delay="indefinite"/>
                      </p:stCondLst>
                      <p:childTnLst>
                        <p:par>
                          <p:cTn id="2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6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50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5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 nodeType="clickPar">
                      <p:stCondLst>
                        <p:cond delay="indefinite"/>
                      </p:stCondLst>
                      <p:childTnLst>
                        <p:par>
                          <p:cTn id="3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5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36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5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 nodeType="clickPar">
                      <p:stCondLst>
                        <p:cond delay="indefinite"/>
                      </p:stCondLst>
                      <p:childTnLst>
                        <p:par>
                          <p:cTn id="3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0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5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5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 nodeType="clickPar">
                      <p:stCondLst>
                        <p:cond delay="indefinite"/>
                      </p:stCondLst>
                      <p:childTnLst>
                        <p:par>
                          <p:cTn id="4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5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50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5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>
            <a:extLst>
              <a:ext uri="{FF2B5EF4-FFF2-40B4-BE49-F238E27FC236}">
                <a16:creationId xmlns:a16="http://schemas.microsoft.com/office/drawing/2014/main" id="{849C604C-D50E-45B0-B022-34238D8E00A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9667" t="25334" r="38667" b="23111"/>
          <a:stretch/>
        </p:blipFill>
        <p:spPr>
          <a:xfrm>
            <a:off x="5015934" y="1221348"/>
            <a:ext cx="6980408" cy="4858364"/>
          </a:xfrm>
          <a:prstGeom prst="rect">
            <a:avLst/>
          </a:prstGeom>
        </p:spPr>
      </p:pic>
      <p:sp>
        <p:nvSpPr>
          <p:cNvPr id="4" name="Rectangle 9">
            <a:extLst>
              <a:ext uri="{FF2B5EF4-FFF2-40B4-BE49-F238E27FC236}">
                <a16:creationId xmlns:a16="http://schemas.microsoft.com/office/drawing/2014/main" id="{80C1ABC8-16C4-45AE-BADB-D560C1D96D8D}"/>
              </a:ext>
            </a:extLst>
          </p:cNvPr>
          <p:cNvSpPr txBox="1">
            <a:spLocks noChangeArrowheads="1"/>
          </p:cNvSpPr>
          <p:nvPr/>
        </p:nvSpPr>
        <p:spPr>
          <a:xfrm>
            <a:off x="503239" y="316381"/>
            <a:ext cx="7880350" cy="56738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 vert="horz" wrap="square" lIns="91428" tIns="45714" rIns="91428" bIns="45714" numCol="1" anchor="t" anchorCtr="0" compatLnSpc="1">
            <a:prstTxWarp prst="textNoShape">
              <a:avLst/>
            </a:prstTxWarp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777875">
              <a:lnSpc>
                <a:spcPct val="85000"/>
              </a:lnSpc>
            </a:pPr>
            <a:r>
              <a:rPr lang="pt-BR" altLang="pt-BR" sz="3600" b="1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O Polígono do </a:t>
            </a:r>
            <a:r>
              <a:rPr lang="pt-BR" altLang="pt-BR" sz="3600" b="1" dirty="0" err="1">
                <a:solidFill>
                  <a:schemeClr val="accent1">
                    <a:lumMod val="75000"/>
                  </a:schemeClr>
                </a:solidFill>
                <a:latin typeface="+mn-lt"/>
              </a:rPr>
              <a:t>Pré</a:t>
            </a:r>
            <a:r>
              <a:rPr lang="pt-BR" altLang="pt-BR" sz="3600" b="1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-Sal</a:t>
            </a:r>
          </a:p>
        </p:txBody>
      </p:sp>
      <p:pic>
        <p:nvPicPr>
          <p:cNvPr id="8194" name="Picture 2" descr="Distribuição das rochas reservatórios do Pré-sal (em azul escuro) em... |  Download Scientific Diagram">
            <a:extLst>
              <a:ext uri="{FF2B5EF4-FFF2-40B4-BE49-F238E27FC236}">
                <a16:creationId xmlns:a16="http://schemas.microsoft.com/office/drawing/2014/main" id="{FF4A6131-43B5-4B8E-91C0-5874C58B00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19437" y="978399"/>
            <a:ext cx="2494485" cy="2202244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innerShdw blurRad="76200">
              <a:srgbClr val="000000"/>
            </a:inn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Agrupar 14">
            <a:extLst>
              <a:ext uri="{FF2B5EF4-FFF2-40B4-BE49-F238E27FC236}">
                <a16:creationId xmlns:a16="http://schemas.microsoft.com/office/drawing/2014/main" id="{876CC6A9-F2EA-4543-8CEE-48C87AB98D3B}"/>
              </a:ext>
            </a:extLst>
          </p:cNvPr>
          <p:cNvGrpSpPr/>
          <p:nvPr/>
        </p:nvGrpSpPr>
        <p:grpSpPr>
          <a:xfrm>
            <a:off x="256478" y="1125255"/>
            <a:ext cx="3674683" cy="4695445"/>
            <a:chOff x="256478" y="1125255"/>
            <a:chExt cx="3674683" cy="4695445"/>
          </a:xfrm>
        </p:grpSpPr>
        <p:pic>
          <p:nvPicPr>
            <p:cNvPr id="3" name="Imagem 2">
              <a:extLst>
                <a:ext uri="{FF2B5EF4-FFF2-40B4-BE49-F238E27FC236}">
                  <a16:creationId xmlns:a16="http://schemas.microsoft.com/office/drawing/2014/main" id="{301E8610-B248-4F3F-8633-5EC2737A5E4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48955" b="26523"/>
            <a:stretch/>
          </p:blipFill>
          <p:spPr>
            <a:xfrm>
              <a:off x="348792" y="3808162"/>
              <a:ext cx="3582369" cy="2012538"/>
            </a:xfrm>
            <a:prstGeom prst="rect">
              <a:avLst/>
            </a:prstGeom>
          </p:spPr>
        </p:pic>
        <p:pic>
          <p:nvPicPr>
            <p:cNvPr id="7" name="Imagem 6">
              <a:extLst>
                <a:ext uri="{FF2B5EF4-FFF2-40B4-BE49-F238E27FC236}">
                  <a16:creationId xmlns:a16="http://schemas.microsoft.com/office/drawing/2014/main" id="{B9407D4C-692E-413E-B71C-84E8FEA844F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r="50529"/>
            <a:stretch/>
          </p:blipFill>
          <p:spPr>
            <a:xfrm>
              <a:off x="256478" y="1125255"/>
              <a:ext cx="3475475" cy="2738218"/>
            </a:xfrm>
            <a:prstGeom prst="rect">
              <a:avLst/>
            </a:prstGeom>
          </p:spPr>
        </p:pic>
        <p:cxnSp>
          <p:nvCxnSpPr>
            <p:cNvPr id="9" name="Conector reto 8">
              <a:extLst>
                <a:ext uri="{FF2B5EF4-FFF2-40B4-BE49-F238E27FC236}">
                  <a16:creationId xmlns:a16="http://schemas.microsoft.com/office/drawing/2014/main" id="{DB5E52B2-3272-4F78-AA90-E5E70C5028A0}"/>
                </a:ext>
              </a:extLst>
            </p:cNvPr>
            <p:cNvCxnSpPr>
              <a:cxnSpLocks/>
            </p:cNvCxnSpPr>
            <p:nvPr/>
          </p:nvCxnSpPr>
          <p:spPr>
            <a:xfrm>
              <a:off x="828645" y="3820826"/>
              <a:ext cx="0" cy="357882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51784602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/>
          <p:cNvPicPr>
            <a:picLocks noChangeAspect="1"/>
          </p:cNvPicPr>
          <p:nvPr/>
        </p:nvPicPr>
        <p:blipFill rotWithShape="1">
          <a:blip r:embed="rId2"/>
          <a:srcRect l="10388" r="6007"/>
          <a:stretch/>
        </p:blipFill>
        <p:spPr>
          <a:xfrm>
            <a:off x="5705850" y="1321459"/>
            <a:ext cx="6288031" cy="2857136"/>
          </a:xfrm>
          <a:prstGeom prst="rect">
            <a:avLst/>
          </a:prstGeom>
        </p:spPr>
      </p:pic>
      <p:sp>
        <p:nvSpPr>
          <p:cNvPr id="5" name="object 3">
            <a:extLst>
              <a:ext uri="{FF2B5EF4-FFF2-40B4-BE49-F238E27FC236}">
                <a16:creationId xmlns:a16="http://schemas.microsoft.com/office/drawing/2014/main" id="{26E21755-CFB2-402F-A526-1141920782BD}"/>
              </a:ext>
            </a:extLst>
          </p:cNvPr>
          <p:cNvSpPr txBox="1">
            <a:spLocks/>
          </p:cNvSpPr>
          <p:nvPr/>
        </p:nvSpPr>
        <p:spPr>
          <a:xfrm>
            <a:off x="6114295" y="566985"/>
            <a:ext cx="6077705" cy="646875"/>
          </a:xfrm>
          <a:prstGeom prst="rect">
            <a:avLst/>
          </a:prstGeom>
        </p:spPr>
        <p:txBody>
          <a:bodyPr vert="horz" wrap="square" lIns="0" tIns="172497" rIns="0" bIns="0" rtlCol="0" anchor="ctr">
            <a:spAutoFit/>
          </a:bodyPr>
          <a:lstStyle>
            <a:lvl1pPr>
              <a:defRPr sz="12350" b="1" i="0">
                <a:solidFill>
                  <a:schemeClr val="bg1"/>
                </a:solidFill>
                <a:latin typeface="Calibri"/>
                <a:ea typeface="+mj-ea"/>
                <a:cs typeface="Calibri"/>
              </a:defRPr>
            </a:lvl1pPr>
          </a:lstStyle>
          <a:p>
            <a:pPr marL="7701" marR="583345">
              <a:lnSpc>
                <a:spcPct val="72900"/>
              </a:lnSpc>
              <a:spcBef>
                <a:spcPts val="1358"/>
              </a:spcBef>
            </a:pPr>
            <a:r>
              <a:rPr lang="pt-BR" sz="4002" kern="0" spc="-45" dirty="0">
                <a:solidFill>
                  <a:srgbClr val="2D4D7E"/>
                </a:solidFill>
              </a:rPr>
              <a:t>Áreas de atuação da PPSA</a:t>
            </a:r>
            <a:endParaRPr lang="pt-BR" sz="1789" kern="0" dirty="0"/>
          </a:p>
        </p:txBody>
      </p:sp>
      <p:sp>
        <p:nvSpPr>
          <p:cNvPr id="6" name="Retângulo 5">
            <a:extLst>
              <a:ext uri="{FF2B5EF4-FFF2-40B4-BE49-F238E27FC236}">
                <a16:creationId xmlns:a16="http://schemas.microsoft.com/office/drawing/2014/main" id="{62D04ED7-10E5-4B08-9092-F882D0410630}"/>
              </a:ext>
            </a:extLst>
          </p:cNvPr>
          <p:cNvSpPr/>
          <p:nvPr/>
        </p:nvSpPr>
        <p:spPr>
          <a:xfrm>
            <a:off x="6283325" y="4582434"/>
            <a:ext cx="5018659" cy="954107"/>
          </a:xfrm>
          <a:prstGeom prst="rect">
            <a:avLst/>
          </a:prstGeom>
          <a:noFill/>
          <a:ln w="57150"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marL="179388" algn="ctr" defTabSz="895661"/>
            <a:r>
              <a:rPr lang="pt-BR" sz="2800" b="1" u="sng" spc="-4" dirty="0">
                <a:solidFill>
                  <a:srgbClr val="008D94"/>
                </a:solidFill>
                <a:latin typeface="Calibri Light" panose="020F0302020204030204" pitchFamily="34" charset="0"/>
                <a:cs typeface="Calibri Light"/>
              </a:rPr>
              <a:t>Missão</a:t>
            </a:r>
            <a:r>
              <a:rPr lang="pt-BR" sz="2800" b="1" dirty="0">
                <a:solidFill>
                  <a:srgbClr val="13324B"/>
                </a:solidFill>
                <a:latin typeface="Calibri Light" panose="020F0302020204030204" pitchFamily="34" charset="0"/>
              </a:rPr>
              <a:t> : Maximizar os resultados econômicos para a União.</a:t>
            </a:r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363CF86F-4CB9-4CE9-9E10-F55E538CF3A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0067" r="17621"/>
          <a:stretch/>
        </p:blipFill>
        <p:spPr>
          <a:xfrm>
            <a:off x="0" y="-1"/>
            <a:ext cx="5508433" cy="6422835"/>
          </a:xfrm>
          <a:prstGeom prst="rect">
            <a:avLst/>
          </a:prstGeom>
        </p:spPr>
      </p:pic>
      <p:sp>
        <p:nvSpPr>
          <p:cNvPr id="9" name="CaixaDeTexto 8">
            <a:extLst>
              <a:ext uri="{FF2B5EF4-FFF2-40B4-BE49-F238E27FC236}">
                <a16:creationId xmlns:a16="http://schemas.microsoft.com/office/drawing/2014/main" id="{4D1A1D06-BC39-46AE-99A7-2C1A102C1AA2}"/>
              </a:ext>
            </a:extLst>
          </p:cNvPr>
          <p:cNvSpPr txBox="1"/>
          <p:nvPr/>
        </p:nvSpPr>
        <p:spPr>
          <a:xfrm>
            <a:off x="191386" y="5898941"/>
            <a:ext cx="30107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FPSO P-77 – Campo de </a:t>
            </a:r>
            <a:r>
              <a:rPr lang="en-US" b="1" dirty="0" err="1">
                <a:solidFill>
                  <a:schemeClr val="bg1"/>
                </a:solidFill>
              </a:rPr>
              <a:t>Búzios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0" name="Triângulo Retângulo 9">
            <a:extLst>
              <a:ext uri="{FF2B5EF4-FFF2-40B4-BE49-F238E27FC236}">
                <a16:creationId xmlns:a16="http://schemas.microsoft.com/office/drawing/2014/main" id="{664CD3DF-2755-4D8C-BBC9-95A394451257}"/>
              </a:ext>
            </a:extLst>
          </p:cNvPr>
          <p:cNvSpPr/>
          <p:nvPr/>
        </p:nvSpPr>
        <p:spPr>
          <a:xfrm flipH="1" flipV="1">
            <a:off x="4047463" y="0"/>
            <a:ext cx="2083982" cy="2333847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27687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3082129A-C874-4453-B907-304FDA2FBD7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2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/>
                    </a14:imgEffect>
                  </a14:imgLayer>
                </a14:imgProps>
              </a:ext>
            </a:extLst>
          </a:blip>
          <a:srcRect t="26386" b="4752"/>
          <a:stretch/>
        </p:blipFill>
        <p:spPr>
          <a:xfrm>
            <a:off x="-9014" y="0"/>
            <a:ext cx="12210028" cy="6415314"/>
          </a:xfrm>
          <a:prstGeom prst="rect">
            <a:avLst/>
          </a:prstGeom>
        </p:spPr>
      </p:pic>
      <p:sp>
        <p:nvSpPr>
          <p:cNvPr id="5" name="Rectangle 9">
            <a:extLst>
              <a:ext uri="{FF2B5EF4-FFF2-40B4-BE49-F238E27FC236}">
                <a16:creationId xmlns:a16="http://schemas.microsoft.com/office/drawing/2014/main" id="{3E4FD1A7-31D7-E882-4739-59B16CBF0FB0}"/>
              </a:ext>
            </a:extLst>
          </p:cNvPr>
          <p:cNvSpPr txBox="1">
            <a:spLocks noChangeArrowheads="1"/>
          </p:cNvSpPr>
          <p:nvPr/>
        </p:nvSpPr>
        <p:spPr>
          <a:xfrm>
            <a:off x="-9014" y="0"/>
            <a:ext cx="7880350" cy="83746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 vert="horz" wrap="square" lIns="91428" tIns="45714" rIns="91428" bIns="45714" numCol="1" anchor="t" anchorCtr="0" compatLnSpc="1">
            <a:prstTxWarp prst="textNoShape">
              <a:avLst/>
            </a:prstTxWarp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72000" defTabSz="777875">
              <a:lnSpc>
                <a:spcPct val="150000"/>
              </a:lnSpc>
              <a:spcBef>
                <a:spcPts val="1200"/>
              </a:spcBef>
            </a:pPr>
            <a:r>
              <a:rPr lang="pt-BR" altLang="pt-BR" sz="3600" b="1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Visão geral do </a:t>
            </a:r>
            <a:r>
              <a:rPr lang="pt-BR" altLang="pt-BR" sz="3600" b="1" dirty="0" err="1">
                <a:solidFill>
                  <a:schemeClr val="accent1">
                    <a:lumMod val="75000"/>
                  </a:schemeClr>
                </a:solidFill>
                <a:latin typeface="+mn-lt"/>
              </a:rPr>
              <a:t>Pré</a:t>
            </a:r>
            <a:r>
              <a:rPr lang="pt-BR" altLang="pt-BR" sz="3600" b="1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-Sal</a:t>
            </a:r>
          </a:p>
        </p:txBody>
      </p:sp>
      <p:grpSp>
        <p:nvGrpSpPr>
          <p:cNvPr id="4" name="Agrupar 3">
            <a:extLst>
              <a:ext uri="{FF2B5EF4-FFF2-40B4-BE49-F238E27FC236}">
                <a16:creationId xmlns:a16="http://schemas.microsoft.com/office/drawing/2014/main" id="{F49C66EA-5D7D-DB72-3AC7-B27628399391}"/>
              </a:ext>
            </a:extLst>
          </p:cNvPr>
          <p:cNvGrpSpPr/>
          <p:nvPr/>
        </p:nvGrpSpPr>
        <p:grpSpPr>
          <a:xfrm>
            <a:off x="2876550" y="1247074"/>
            <a:ext cx="6438900" cy="4921471"/>
            <a:chOff x="2876550" y="1211563"/>
            <a:chExt cx="6438900" cy="4921471"/>
          </a:xfrm>
        </p:grpSpPr>
        <p:pic>
          <p:nvPicPr>
            <p:cNvPr id="6" name="Imagem 5">
              <a:extLst>
                <a:ext uri="{FF2B5EF4-FFF2-40B4-BE49-F238E27FC236}">
                  <a16:creationId xmlns:a16="http://schemas.microsoft.com/office/drawing/2014/main" id="{C30EB971-FECE-A715-30FA-3828500DE14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876550" y="1220266"/>
              <a:ext cx="6438900" cy="4912768"/>
            </a:xfrm>
            <a:prstGeom prst="rect">
              <a:avLst/>
            </a:prstGeom>
          </p:spPr>
        </p:pic>
        <p:sp>
          <p:nvSpPr>
            <p:cNvPr id="2" name="Retângulo 1">
              <a:extLst>
                <a:ext uri="{FF2B5EF4-FFF2-40B4-BE49-F238E27FC236}">
                  <a16:creationId xmlns:a16="http://schemas.microsoft.com/office/drawing/2014/main" id="{E8E54DB3-E770-F731-773A-6ED298902E11}"/>
                </a:ext>
              </a:extLst>
            </p:cNvPr>
            <p:cNvSpPr/>
            <p:nvPr/>
          </p:nvSpPr>
          <p:spPr>
            <a:xfrm>
              <a:off x="2876550" y="1211563"/>
              <a:ext cx="6438900" cy="4872531"/>
            </a:xfrm>
            <a:prstGeom prst="rect">
              <a:avLst/>
            </a:prstGeom>
            <a:noFill/>
            <a:ln w="19050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</p:spTree>
    <p:extLst>
      <p:ext uri="{BB962C8B-B14F-4D97-AF65-F5344CB8AC3E}">
        <p14:creationId xmlns:p14="http://schemas.microsoft.com/office/powerpoint/2010/main" val="117831270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 descr="Água do mar&#10;&#10;Descrição gerada automaticamente">
            <a:extLst>
              <a:ext uri="{FF2B5EF4-FFF2-40B4-BE49-F238E27FC236}">
                <a16:creationId xmlns:a16="http://schemas.microsoft.com/office/drawing/2014/main" id="{D041238F-E313-4842-ADDF-B860BE3ABA4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60000"/>
          </a:blip>
          <a:srcRect l="5678" t="30445" r="17051" b="5678"/>
          <a:stretch/>
        </p:blipFill>
        <p:spPr>
          <a:xfrm>
            <a:off x="9427" y="9428"/>
            <a:ext cx="12156311" cy="668266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" name="Retângulo 1">
            <a:extLst>
              <a:ext uri="{FF2B5EF4-FFF2-40B4-BE49-F238E27FC236}">
                <a16:creationId xmlns:a16="http://schemas.microsoft.com/office/drawing/2014/main" id="{BB047774-7102-CC60-3019-0A1F5FFD978D}"/>
              </a:ext>
            </a:extLst>
          </p:cNvPr>
          <p:cNvSpPr/>
          <p:nvPr/>
        </p:nvSpPr>
        <p:spPr>
          <a:xfrm>
            <a:off x="8789883" y="2032986"/>
            <a:ext cx="2307341" cy="3703656"/>
          </a:xfrm>
          <a:prstGeom prst="rect">
            <a:avLst/>
          </a:prstGeom>
          <a:solidFill>
            <a:srgbClr val="00999B">
              <a:alpha val="45098"/>
            </a:srgbClr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EC382D55-0482-4DAA-B094-500714F17D03}"/>
              </a:ext>
            </a:extLst>
          </p:cNvPr>
          <p:cNvSpPr txBox="1"/>
          <p:nvPr/>
        </p:nvSpPr>
        <p:spPr>
          <a:xfrm>
            <a:off x="8882565" y="2157230"/>
            <a:ext cx="1944226" cy="11285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800"/>
              </a:spcAft>
            </a:pPr>
            <a:r>
              <a:rPr lang="pt-BR" dirty="0">
                <a:solidFill>
                  <a:schemeClr val="bg1"/>
                </a:solidFill>
              </a:rPr>
              <a:t>Exploração: 5 anos</a:t>
            </a:r>
          </a:p>
          <a:p>
            <a:pPr>
              <a:spcAft>
                <a:spcPts val="800"/>
              </a:spcAft>
            </a:pPr>
            <a:r>
              <a:rPr lang="pt-BR" dirty="0">
                <a:solidFill>
                  <a:schemeClr val="bg1"/>
                </a:solidFill>
              </a:rPr>
              <a:t>DP: 5 anos</a:t>
            </a:r>
          </a:p>
          <a:p>
            <a:pPr>
              <a:spcAft>
                <a:spcPts val="800"/>
              </a:spcAft>
            </a:pPr>
            <a:r>
              <a:rPr lang="pt-BR" dirty="0">
                <a:solidFill>
                  <a:schemeClr val="bg1"/>
                </a:solidFill>
              </a:rPr>
              <a:t>Produção: 25 anos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3D12ED4E-F053-4F6A-9275-6164E46E50D4}"/>
              </a:ext>
            </a:extLst>
          </p:cNvPr>
          <p:cNvSpPr txBox="1"/>
          <p:nvPr/>
        </p:nvSpPr>
        <p:spPr>
          <a:xfrm>
            <a:off x="8912114" y="3465680"/>
            <a:ext cx="2214659" cy="21390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pt-BR" dirty="0">
                <a:solidFill>
                  <a:schemeClr val="bg1"/>
                </a:solidFill>
              </a:rPr>
              <a:t>Reservatório</a:t>
            </a:r>
          </a:p>
          <a:p>
            <a:pPr>
              <a:spcAft>
                <a:spcPts val="600"/>
              </a:spcAft>
            </a:pPr>
            <a:r>
              <a:rPr lang="pt-BR" dirty="0">
                <a:solidFill>
                  <a:schemeClr val="bg1"/>
                </a:solidFill>
              </a:rPr>
              <a:t>Poços</a:t>
            </a:r>
          </a:p>
          <a:p>
            <a:pPr>
              <a:spcAft>
                <a:spcPts val="600"/>
              </a:spcAft>
            </a:pPr>
            <a:r>
              <a:rPr lang="pt-BR" dirty="0">
                <a:solidFill>
                  <a:schemeClr val="bg1"/>
                </a:solidFill>
              </a:rPr>
              <a:t>Sistema submarino</a:t>
            </a:r>
          </a:p>
          <a:p>
            <a:pPr>
              <a:spcAft>
                <a:spcPts val="600"/>
              </a:spcAft>
            </a:pPr>
            <a:r>
              <a:rPr lang="pt-BR" dirty="0">
                <a:solidFill>
                  <a:schemeClr val="bg1"/>
                </a:solidFill>
              </a:rPr>
              <a:t>Unidade de Produção</a:t>
            </a:r>
          </a:p>
          <a:p>
            <a:pPr>
              <a:spcAft>
                <a:spcPts val="600"/>
              </a:spcAft>
            </a:pPr>
            <a:r>
              <a:rPr lang="pt-BR" dirty="0">
                <a:solidFill>
                  <a:schemeClr val="bg1"/>
                </a:solidFill>
              </a:rPr>
              <a:t>Escoamento </a:t>
            </a:r>
          </a:p>
          <a:p>
            <a:pPr>
              <a:spcAft>
                <a:spcPts val="600"/>
              </a:spcAft>
            </a:pPr>
            <a:r>
              <a:rPr lang="pt-BR" dirty="0">
                <a:solidFill>
                  <a:schemeClr val="bg1"/>
                </a:solidFill>
              </a:rPr>
              <a:t>Gerenciamento gás</a:t>
            </a:r>
          </a:p>
        </p:txBody>
      </p:sp>
      <p:pic>
        <p:nvPicPr>
          <p:cNvPr id="9" name="Imagem 8">
            <a:extLst>
              <a:ext uri="{FF2B5EF4-FFF2-40B4-BE49-F238E27FC236}">
                <a16:creationId xmlns:a16="http://schemas.microsoft.com/office/drawing/2014/main" id="{79BD9437-FAE4-4D43-91E1-7B7D5E6F5E2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6068"/>
          <a:stretch/>
        </p:blipFill>
        <p:spPr>
          <a:xfrm>
            <a:off x="-2982" y="5896271"/>
            <a:ext cx="12192000" cy="955450"/>
          </a:xfrm>
          <a:prstGeom prst="rect">
            <a:avLst/>
          </a:prstGeom>
        </p:spPr>
      </p:pic>
      <p:grpSp>
        <p:nvGrpSpPr>
          <p:cNvPr id="11" name="Agrupar 10">
            <a:extLst>
              <a:ext uri="{FF2B5EF4-FFF2-40B4-BE49-F238E27FC236}">
                <a16:creationId xmlns:a16="http://schemas.microsoft.com/office/drawing/2014/main" id="{63B96135-C0ED-B049-9D6B-56099ADA17E5}"/>
              </a:ext>
            </a:extLst>
          </p:cNvPr>
          <p:cNvGrpSpPr/>
          <p:nvPr/>
        </p:nvGrpSpPr>
        <p:grpSpPr>
          <a:xfrm>
            <a:off x="572312" y="1320750"/>
            <a:ext cx="7654686" cy="4805132"/>
            <a:chOff x="533862" y="765829"/>
            <a:chExt cx="8490287" cy="5329670"/>
          </a:xfrm>
        </p:grpSpPr>
        <p:pic>
          <p:nvPicPr>
            <p:cNvPr id="3" name="Imagem 2">
              <a:extLst>
                <a:ext uri="{FF2B5EF4-FFF2-40B4-BE49-F238E27FC236}">
                  <a16:creationId xmlns:a16="http://schemas.microsoft.com/office/drawing/2014/main" id="{2B841853-C10E-412E-871D-7FF5C6A1C5E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33862" y="765829"/>
              <a:ext cx="8490287" cy="5329670"/>
            </a:xfrm>
            <a:prstGeom prst="rect">
              <a:avLst/>
            </a:prstGeom>
          </p:spPr>
        </p:pic>
        <p:sp>
          <p:nvSpPr>
            <p:cNvPr id="7" name="Balão de Fala: Retângulo 6">
              <a:extLst>
                <a:ext uri="{FF2B5EF4-FFF2-40B4-BE49-F238E27FC236}">
                  <a16:creationId xmlns:a16="http://schemas.microsoft.com/office/drawing/2014/main" id="{F4ECEE7E-7F0B-BD43-64E4-AFBD7A7ACDB8}"/>
                </a:ext>
              </a:extLst>
            </p:cNvPr>
            <p:cNvSpPr/>
            <p:nvPr/>
          </p:nvSpPr>
          <p:spPr>
            <a:xfrm>
              <a:off x="4345618" y="915421"/>
              <a:ext cx="616908" cy="199228"/>
            </a:xfrm>
            <a:prstGeom prst="wedgeRectCallout">
              <a:avLst>
                <a:gd name="adj1" fmla="val -86768"/>
                <a:gd name="adj2" fmla="val 147261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1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FPSO</a:t>
              </a:r>
              <a:endParaRPr lang="pt-BR" sz="11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sp>
        <p:nvSpPr>
          <p:cNvPr id="8" name="Rectangle 9">
            <a:extLst>
              <a:ext uri="{FF2B5EF4-FFF2-40B4-BE49-F238E27FC236}">
                <a16:creationId xmlns:a16="http://schemas.microsoft.com/office/drawing/2014/main" id="{C86BCC43-E570-B6F0-5608-D13A091D7EF0}"/>
              </a:ext>
            </a:extLst>
          </p:cNvPr>
          <p:cNvSpPr txBox="1">
            <a:spLocks noChangeArrowheads="1"/>
          </p:cNvSpPr>
          <p:nvPr/>
        </p:nvSpPr>
        <p:spPr>
          <a:xfrm>
            <a:off x="-9014" y="0"/>
            <a:ext cx="11489814" cy="83746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 vert="horz" wrap="square" lIns="91428" tIns="45714" rIns="91428" bIns="45714" numCol="1" anchor="t" anchorCtr="0" compatLnSpc="1">
            <a:prstTxWarp prst="textNoShape">
              <a:avLst/>
            </a:prstTxWarp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72000" defTabSz="777875">
              <a:lnSpc>
                <a:spcPct val="150000"/>
              </a:lnSpc>
              <a:spcBef>
                <a:spcPts val="1200"/>
              </a:spcBef>
            </a:pPr>
            <a:r>
              <a:rPr lang="pt-BR" altLang="pt-BR" sz="3600" b="1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Projeto típico de produção em águas profundas</a:t>
            </a:r>
          </a:p>
        </p:txBody>
      </p:sp>
      <p:cxnSp>
        <p:nvCxnSpPr>
          <p:cNvPr id="15" name="Conector reto 14">
            <a:extLst>
              <a:ext uri="{FF2B5EF4-FFF2-40B4-BE49-F238E27FC236}">
                <a16:creationId xmlns:a16="http://schemas.microsoft.com/office/drawing/2014/main" id="{CC8209A1-25EC-D8DE-CFCC-E625949D5975}"/>
              </a:ext>
            </a:extLst>
          </p:cNvPr>
          <p:cNvCxnSpPr>
            <a:cxnSpLocks/>
          </p:cNvCxnSpPr>
          <p:nvPr/>
        </p:nvCxnSpPr>
        <p:spPr>
          <a:xfrm>
            <a:off x="8882565" y="3453274"/>
            <a:ext cx="2135613" cy="0"/>
          </a:xfrm>
          <a:prstGeom prst="line">
            <a:avLst/>
          </a:prstGeom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2" name="Retângulo 11">
            <a:extLst>
              <a:ext uri="{FF2B5EF4-FFF2-40B4-BE49-F238E27FC236}">
                <a16:creationId xmlns:a16="http://schemas.microsoft.com/office/drawing/2014/main" id="{23E37736-1F2D-CF4A-FD09-3B99DC908943}"/>
              </a:ext>
            </a:extLst>
          </p:cNvPr>
          <p:cNvSpPr/>
          <p:nvPr/>
        </p:nvSpPr>
        <p:spPr>
          <a:xfrm>
            <a:off x="572312" y="1296236"/>
            <a:ext cx="7654686" cy="4829646"/>
          </a:xfrm>
          <a:prstGeom prst="rect">
            <a:avLst/>
          </a:prstGeom>
          <a:noFill/>
          <a:ln w="1905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CaixaDeTexto 13">
            <a:extLst>
              <a:ext uri="{FF2B5EF4-FFF2-40B4-BE49-F238E27FC236}">
                <a16:creationId xmlns:a16="http://schemas.microsoft.com/office/drawing/2014/main" id="{D4D8D39C-051C-4078-919A-959F25903B98}"/>
              </a:ext>
            </a:extLst>
          </p:cNvPr>
          <p:cNvSpPr txBox="1"/>
          <p:nvPr/>
        </p:nvSpPr>
        <p:spPr>
          <a:xfrm>
            <a:off x="2730982" y="6480306"/>
            <a:ext cx="81490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>
                <a:solidFill>
                  <a:schemeClr val="bg1"/>
                </a:solidFill>
              </a:rPr>
              <a:t>https://www.comunicabaciadesantos.com.br/sites/default/files/Apresentacao_AP_ET3_PB_Caragua.pdf</a:t>
            </a:r>
          </a:p>
        </p:txBody>
      </p:sp>
      <p:pic>
        <p:nvPicPr>
          <p:cNvPr id="16" name="Imagem 15">
            <a:extLst>
              <a:ext uri="{FF2B5EF4-FFF2-40B4-BE49-F238E27FC236}">
                <a16:creationId xmlns:a16="http://schemas.microsoft.com/office/drawing/2014/main" id="{87838678-EE7A-447C-9B77-F281802CA45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4014" y="6413135"/>
            <a:ext cx="2092207" cy="450000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7622130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3">
            <a:extLst>
              <a:ext uri="{FF2B5EF4-FFF2-40B4-BE49-F238E27FC236}">
                <a16:creationId xmlns:a16="http://schemas.microsoft.com/office/drawing/2014/main" id="{1E636D9A-331C-4ACF-B49B-4746BD0FEDFE}"/>
              </a:ext>
            </a:extLst>
          </p:cNvPr>
          <p:cNvSpPr txBox="1">
            <a:spLocks/>
          </p:cNvSpPr>
          <p:nvPr/>
        </p:nvSpPr>
        <p:spPr>
          <a:xfrm>
            <a:off x="464233" y="34884"/>
            <a:ext cx="12605723" cy="555890"/>
          </a:xfrm>
          <a:prstGeom prst="rect">
            <a:avLst/>
          </a:prstGeom>
        </p:spPr>
        <p:txBody>
          <a:bodyPr vert="horz" wrap="square" lIns="0" tIns="129382" rIns="0" bIns="0" rtlCol="0" anchor="ctr">
            <a:spAutoFit/>
          </a:bodyPr>
          <a:lstStyle>
            <a:lvl1pPr>
              <a:defRPr sz="12350" b="1" i="0">
                <a:solidFill>
                  <a:schemeClr val="bg1"/>
                </a:solidFill>
                <a:latin typeface="Calibri"/>
                <a:ea typeface="+mj-ea"/>
                <a:cs typeface="Calibri"/>
              </a:defRPr>
            </a:lvl1pPr>
          </a:lstStyle>
          <a:p>
            <a:pPr marL="5715" marR="436880" defTabSz="415869">
              <a:lnSpc>
                <a:spcPct val="72900"/>
              </a:lnSpc>
              <a:spcBef>
                <a:spcPts val="1018"/>
              </a:spcBef>
            </a:pPr>
            <a:r>
              <a:rPr lang="pt-BR" sz="3600" dirty="0">
                <a:solidFill>
                  <a:schemeClr val="accent1">
                    <a:lumMod val="75000"/>
                  </a:schemeClr>
                </a:solidFill>
                <a:latin typeface="+mn-lt"/>
                <a:cs typeface="+mj-cs"/>
              </a:rPr>
              <a:t>Um projeto no </a:t>
            </a:r>
            <a:r>
              <a:rPr lang="pt-BR" sz="3600" dirty="0" err="1">
                <a:solidFill>
                  <a:schemeClr val="accent1">
                    <a:lumMod val="75000"/>
                  </a:schemeClr>
                </a:solidFill>
                <a:latin typeface="+mn-lt"/>
                <a:cs typeface="+mj-cs"/>
              </a:rPr>
              <a:t>Pré</a:t>
            </a:r>
            <a:r>
              <a:rPr lang="pt-BR" sz="3600" dirty="0">
                <a:solidFill>
                  <a:schemeClr val="accent1">
                    <a:lumMod val="75000"/>
                  </a:schemeClr>
                </a:solidFill>
                <a:latin typeface="+mn-lt"/>
                <a:cs typeface="+mj-cs"/>
              </a:rPr>
              <a:t>-Sal em números</a:t>
            </a:r>
          </a:p>
        </p:txBody>
      </p:sp>
      <p:pic>
        <p:nvPicPr>
          <p:cNvPr id="9" name="Imagem 8">
            <a:extLst>
              <a:ext uri="{FF2B5EF4-FFF2-40B4-BE49-F238E27FC236}">
                <a16:creationId xmlns:a16="http://schemas.microsoft.com/office/drawing/2014/main" id="{79BD9437-FAE4-4D43-91E1-7B7D5E6F5E2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6068"/>
          <a:stretch/>
        </p:blipFill>
        <p:spPr>
          <a:xfrm>
            <a:off x="-2982" y="5896271"/>
            <a:ext cx="12192000" cy="955450"/>
          </a:xfrm>
          <a:prstGeom prst="rect">
            <a:avLst/>
          </a:prstGeom>
        </p:spPr>
      </p:pic>
      <p:sp>
        <p:nvSpPr>
          <p:cNvPr id="11" name="Retângulo 10">
            <a:extLst>
              <a:ext uri="{FF2B5EF4-FFF2-40B4-BE49-F238E27FC236}">
                <a16:creationId xmlns:a16="http://schemas.microsoft.com/office/drawing/2014/main" id="{C47B61DE-50C8-4479-8694-CAF07060B8EE}"/>
              </a:ext>
            </a:extLst>
          </p:cNvPr>
          <p:cNvSpPr/>
          <p:nvPr/>
        </p:nvSpPr>
        <p:spPr>
          <a:xfrm>
            <a:off x="0" y="838986"/>
            <a:ext cx="12061216" cy="5309146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35941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pt-BR" sz="2400" b="1" dirty="0"/>
              <a:t> Geração de Energia </a:t>
            </a:r>
            <a:r>
              <a:rPr lang="pt-BR" sz="2400" b="1" dirty="0">
                <a:sym typeface="Wingdings" panose="05000000000000000000" pitchFamily="2" charset="2"/>
              </a:rPr>
              <a:t> </a:t>
            </a:r>
            <a:r>
              <a:rPr lang="pt-BR" sz="2400" dirty="0">
                <a:sym typeface="Wingdings" panose="05000000000000000000" pitchFamily="2" charset="2"/>
              </a:rPr>
              <a:t>100 MW/FPSO, suficiente para                                                                                                 </a:t>
            </a:r>
            <a:r>
              <a:rPr lang="pt-BR" sz="2400" b="1" dirty="0">
                <a:sym typeface="Wingdings" panose="05000000000000000000" pitchFamily="2" charset="2"/>
              </a:rPr>
              <a:t>iluminar a cidade de Miami (400 mil habitantes);</a:t>
            </a:r>
            <a:endParaRPr lang="pt-BR" sz="2400" b="1" dirty="0">
              <a:ea typeface="Calibri" panose="020F0502020204030204"/>
              <a:cs typeface="Calibri" panose="020F0502020204030204"/>
            </a:endParaRPr>
          </a:p>
          <a:p>
            <a:pPr marL="35941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pt-BR" sz="2400" b="1" dirty="0"/>
              <a:t> Área geográfica </a:t>
            </a:r>
            <a:r>
              <a:rPr lang="pt-BR" sz="2400" b="1" dirty="0">
                <a:sym typeface="Wingdings" panose="05000000000000000000" pitchFamily="2" charset="2"/>
              </a:rPr>
              <a:t> </a:t>
            </a:r>
            <a:r>
              <a:rPr lang="pt-BR" sz="2400" dirty="0">
                <a:sym typeface="Wingdings" panose="05000000000000000000" pitchFamily="2" charset="2"/>
              </a:rPr>
              <a:t>70 Km</a:t>
            </a:r>
            <a:r>
              <a:rPr lang="pt-BR" sz="2400" baseline="30000" dirty="0">
                <a:sym typeface="Wingdings" panose="05000000000000000000" pitchFamily="2" charset="2"/>
              </a:rPr>
              <a:t>2</a:t>
            </a:r>
            <a:r>
              <a:rPr lang="pt-BR" sz="2400" dirty="0">
                <a:sym typeface="Wingdings" panose="05000000000000000000" pitchFamily="2" charset="2"/>
              </a:rPr>
              <a:t>/Módulo, correspondendo a                                                                        </a:t>
            </a:r>
            <a:r>
              <a:rPr lang="pt-BR" sz="2400" b="1" dirty="0">
                <a:sym typeface="Wingdings" panose="05000000000000000000" pitchFamily="2" charset="2"/>
              </a:rPr>
              <a:t>10.000 campos de futebol</a:t>
            </a:r>
            <a:r>
              <a:rPr lang="pt-BR" sz="2400" dirty="0">
                <a:sym typeface="Wingdings" panose="05000000000000000000" pitchFamily="2" charset="2"/>
              </a:rPr>
              <a:t>; </a:t>
            </a:r>
            <a:endParaRPr lang="pt-BR" sz="2400" dirty="0">
              <a:ea typeface="Calibri" panose="020F0502020204030204"/>
              <a:cs typeface="Calibri" panose="020F0502020204030204"/>
            </a:endParaRPr>
          </a:p>
          <a:p>
            <a:pPr marL="35941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pt-BR" sz="2400" b="1" dirty="0"/>
              <a:t> Peso dos </a:t>
            </a:r>
            <a:r>
              <a:rPr lang="pt-BR" sz="2400" b="1" dirty="0" err="1"/>
              <a:t>FPSOs</a:t>
            </a:r>
            <a:r>
              <a:rPr lang="pt-BR" sz="2400" b="1" dirty="0"/>
              <a:t> </a:t>
            </a:r>
            <a:r>
              <a:rPr lang="pt-BR" sz="2400" b="1" dirty="0">
                <a:sym typeface="Wingdings" panose="05000000000000000000" pitchFamily="2" charset="2"/>
              </a:rPr>
              <a:t> </a:t>
            </a:r>
            <a:r>
              <a:rPr lang="pt-BR" sz="2400" dirty="0">
                <a:sym typeface="Wingdings" panose="05000000000000000000" pitchFamily="2" charset="2"/>
              </a:rPr>
              <a:t>100 mil </a:t>
            </a:r>
            <a:r>
              <a:rPr lang="pt-BR" sz="2400" dirty="0" err="1">
                <a:sym typeface="Wingdings" panose="05000000000000000000" pitchFamily="2" charset="2"/>
              </a:rPr>
              <a:t>ton</a:t>
            </a:r>
            <a:r>
              <a:rPr lang="pt-BR" sz="2400" dirty="0">
                <a:sym typeface="Wingdings" panose="05000000000000000000" pitchFamily="2" charset="2"/>
              </a:rPr>
              <a:t>/FPSO, equivalente a                                                                                                   </a:t>
            </a:r>
            <a:r>
              <a:rPr lang="pt-BR" sz="2400" b="1" dirty="0">
                <a:sym typeface="Wingdings" panose="05000000000000000000" pitchFamily="2" charset="2"/>
              </a:rPr>
              <a:t>250 aviões Boing-747;</a:t>
            </a:r>
            <a:endParaRPr lang="pt-BR" sz="2400" b="1" dirty="0">
              <a:ea typeface="Calibri" panose="020F0502020204030204"/>
              <a:cs typeface="Calibri" panose="020F0502020204030204"/>
            </a:endParaRPr>
          </a:p>
          <a:p>
            <a:pPr marL="35941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pt-BR" sz="2400" b="1" dirty="0"/>
              <a:t> Comprimento das linhas submarinas </a:t>
            </a:r>
            <a:r>
              <a:rPr lang="pt-BR" sz="2400" b="1" dirty="0">
                <a:sym typeface="Wingdings" panose="05000000000000000000" pitchFamily="2" charset="2"/>
              </a:rPr>
              <a:t> </a:t>
            </a:r>
            <a:r>
              <a:rPr lang="pt-BR" sz="2400" dirty="0">
                <a:sym typeface="Wingdings" panose="05000000000000000000" pitchFamily="2" charset="2"/>
              </a:rPr>
              <a:t>200 km (produção, injeção, serviço                                                         e umbilicais), o que equivale a uma </a:t>
            </a:r>
            <a:r>
              <a:rPr lang="pt-BR" sz="2400" b="1" dirty="0">
                <a:sym typeface="Wingdings" panose="05000000000000000000" pitchFamily="2" charset="2"/>
              </a:rPr>
              <a:t>viagem </a:t>
            </a:r>
            <a:r>
              <a:rPr lang="pt-BR" sz="2400" b="1" dirty="0" err="1">
                <a:sym typeface="Wingdings" panose="05000000000000000000" pitchFamily="2" charset="2"/>
              </a:rPr>
              <a:t>Montevidéo</a:t>
            </a:r>
            <a:r>
              <a:rPr lang="pt-BR" sz="2400" b="1" dirty="0">
                <a:sym typeface="Wingdings" panose="05000000000000000000" pitchFamily="2" charset="2"/>
              </a:rPr>
              <a:t> – Buenos Aires</a:t>
            </a:r>
            <a:r>
              <a:rPr lang="pt-BR" sz="2400" dirty="0">
                <a:sym typeface="Wingdings" panose="05000000000000000000" pitchFamily="2" charset="2"/>
              </a:rPr>
              <a:t>;</a:t>
            </a:r>
            <a:endParaRPr lang="pt-BR" sz="2400" b="1" dirty="0">
              <a:ea typeface="Calibri" panose="020F0502020204030204"/>
              <a:cs typeface="Calibri" panose="020F0502020204030204"/>
            </a:endParaRPr>
          </a:p>
          <a:p>
            <a:pPr marL="35941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pt-BR" sz="2400" b="1" dirty="0"/>
              <a:t> Profundidade dos Poços </a:t>
            </a:r>
            <a:r>
              <a:rPr lang="pt-BR" sz="2400" b="1" dirty="0">
                <a:sym typeface="Wingdings" panose="05000000000000000000" pitchFamily="2" charset="2"/>
              </a:rPr>
              <a:t>  </a:t>
            </a:r>
            <a:r>
              <a:rPr lang="pt-BR" sz="2400" dirty="0"/>
              <a:t>6.000 m em relação ao nível do mar, aproximadamente a </a:t>
            </a:r>
            <a:r>
              <a:rPr lang="pt-BR" sz="2400" b="1" dirty="0"/>
              <a:t>altura do Aconcágua</a:t>
            </a:r>
            <a:r>
              <a:rPr lang="pt-BR" sz="2400" dirty="0"/>
              <a:t>;</a:t>
            </a:r>
            <a:endParaRPr lang="pt-BR" sz="2400" dirty="0">
              <a:ea typeface="Calibri" panose="020F0502020204030204"/>
              <a:cs typeface="Calibri" panose="020F0502020204030204"/>
            </a:endParaRPr>
          </a:p>
          <a:p>
            <a:pPr marL="35941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pt-BR" sz="2400" b="1" dirty="0"/>
              <a:t>Investimento total </a:t>
            </a:r>
            <a:r>
              <a:rPr lang="pt-BR" sz="2400" b="1" dirty="0">
                <a:sym typeface="Wingdings" panose="05000000000000000000" pitchFamily="2" charset="2"/>
              </a:rPr>
              <a:t> </a:t>
            </a:r>
            <a:r>
              <a:rPr lang="pt-BR" sz="2400" dirty="0">
                <a:sym typeface="Wingdings" panose="05000000000000000000" pitchFamily="2" charset="2"/>
              </a:rPr>
              <a:t>US$ 6,0 bi, comparável com o valor de </a:t>
            </a:r>
            <a:r>
              <a:rPr lang="pt-BR" sz="2400" b="1" dirty="0">
                <a:sym typeface="Wingdings" panose="05000000000000000000" pitchFamily="2" charset="2"/>
              </a:rPr>
              <a:t>4 edifícios Burj Khalifa, Dubai</a:t>
            </a:r>
            <a:r>
              <a:rPr lang="pt-BR" sz="2400" b="1" dirty="0">
                <a:solidFill>
                  <a:srgbClr val="C00000"/>
                </a:solidFill>
                <a:sym typeface="Wingdings" panose="05000000000000000000" pitchFamily="2" charset="2"/>
              </a:rPr>
              <a:t>.</a:t>
            </a:r>
            <a:endParaRPr lang="pt-BR" sz="2400" dirty="0">
              <a:solidFill>
                <a:srgbClr val="C00000"/>
              </a:solidFill>
              <a:ea typeface="Calibri" panose="020F0502020204030204"/>
              <a:cs typeface="Calibri" panose="020F0502020204030204"/>
            </a:endParaRPr>
          </a:p>
        </p:txBody>
      </p:sp>
      <p:pic>
        <p:nvPicPr>
          <p:cNvPr id="6" name="Picture 2" descr="ABESPETRO VÊ PERSPECTIVAS MAIS POSITIVAS PARA O SETOR DE ÓLEO E GÁS DO  BRASIL EM 2021 | PetroNotícias">
            <a:extLst>
              <a:ext uri="{FF2B5EF4-FFF2-40B4-BE49-F238E27FC236}">
                <a16:creationId xmlns:a16="http://schemas.microsoft.com/office/drawing/2014/main" id="{96FDAF88-E8B5-4A92-826A-E12BA070F8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1261" y="437322"/>
            <a:ext cx="4921472" cy="3238482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36195" dist="12700" dir="11400000" algn="tl" rotWithShape="0">
              <a:srgbClr val="000000">
                <a:alpha val="33000"/>
              </a:srgbClr>
            </a:outerShdw>
          </a:effectLst>
          <a:scene3d>
            <a:camera prst="perspectiveContrastingLeftFacing">
              <a:rot lat="540000" lon="2100000" rev="0"/>
            </a:camera>
            <a:lightRig rig="soft" dir="t"/>
          </a:scene3d>
          <a:sp3d contourW="12700" prstMaterial="matte">
            <a:bevelT w="63500" h="50800"/>
            <a:contourClr>
              <a:srgbClr val="C0C0C0"/>
            </a:contourClr>
          </a:sp3d>
        </p:spPr>
      </p:pic>
      <p:pic>
        <p:nvPicPr>
          <p:cNvPr id="7" name="Imagem 6">
            <a:extLst>
              <a:ext uri="{FF2B5EF4-FFF2-40B4-BE49-F238E27FC236}">
                <a16:creationId xmlns:a16="http://schemas.microsoft.com/office/drawing/2014/main" id="{8C2137D0-3DB5-467B-A85F-B94A0C02168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4014" y="6413135"/>
            <a:ext cx="2092207" cy="450000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9542980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74C754E-FB7E-4B2C-929D-B3E242378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5649" y="122549"/>
            <a:ext cx="11095960" cy="593889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en-US" sz="3600" b="1" dirty="0" err="1">
                <a:solidFill>
                  <a:schemeClr val="accent1">
                    <a:lumMod val="75000"/>
                  </a:schemeClr>
                </a:solidFill>
                <a:latin typeface="+mn-lt"/>
              </a:rPr>
              <a:t>Características</a:t>
            </a:r>
            <a:r>
              <a:rPr lang="en-US" sz="3600" b="1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 dos </a:t>
            </a:r>
            <a:r>
              <a:rPr lang="en-US" sz="3600" b="1" dirty="0" err="1">
                <a:solidFill>
                  <a:schemeClr val="accent1">
                    <a:lumMod val="75000"/>
                  </a:schemeClr>
                </a:solidFill>
                <a:latin typeface="+mn-lt"/>
              </a:rPr>
              <a:t>Projetos</a:t>
            </a:r>
            <a:r>
              <a:rPr lang="en-US" sz="3600" b="1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 no </a:t>
            </a:r>
            <a:r>
              <a:rPr lang="en-US" sz="3600" b="1" dirty="0" err="1">
                <a:solidFill>
                  <a:schemeClr val="accent1">
                    <a:lumMod val="75000"/>
                  </a:schemeClr>
                </a:solidFill>
                <a:latin typeface="+mn-lt"/>
              </a:rPr>
              <a:t>Pré</a:t>
            </a:r>
            <a:r>
              <a:rPr lang="en-US" sz="3600" b="1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-Sal</a:t>
            </a:r>
          </a:p>
        </p:txBody>
      </p:sp>
      <p:sp>
        <p:nvSpPr>
          <p:cNvPr id="4" name="Retângulo 3">
            <a:extLst>
              <a:ext uri="{FF2B5EF4-FFF2-40B4-BE49-F238E27FC236}">
                <a16:creationId xmlns:a16="http://schemas.microsoft.com/office/drawing/2014/main" id="{EF24515E-5D58-4D2E-8981-9D2540BFB87C}"/>
              </a:ext>
            </a:extLst>
          </p:cNvPr>
          <p:cNvSpPr/>
          <p:nvPr/>
        </p:nvSpPr>
        <p:spPr>
          <a:xfrm>
            <a:off x="0" y="838986"/>
            <a:ext cx="11788047" cy="51706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00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pt-BR" sz="2400" dirty="0"/>
              <a:t> </a:t>
            </a:r>
            <a:r>
              <a:rPr lang="pt-BR" sz="2400" b="1" dirty="0"/>
              <a:t>Incertezas e riscos </a:t>
            </a:r>
            <a:r>
              <a:rPr lang="pt-BR" sz="2400" dirty="0">
                <a:sym typeface="Wingdings" panose="05000000000000000000" pitchFamily="2" charset="2"/>
              </a:rPr>
              <a:t> N</a:t>
            </a:r>
            <a:r>
              <a:rPr lang="pt-BR" sz="2400" dirty="0"/>
              <a:t>atureza amostrada (poços) e emprego de                                                modelos e simuladores; </a:t>
            </a:r>
          </a:p>
          <a:p>
            <a:pPr marL="3600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pt-BR" sz="2400" dirty="0"/>
              <a:t> </a:t>
            </a:r>
            <a:r>
              <a:rPr lang="pt-BR" sz="2400" b="1" dirty="0"/>
              <a:t>Megaprojetos </a:t>
            </a:r>
            <a:r>
              <a:rPr lang="pt-BR" sz="2400" dirty="0">
                <a:sym typeface="Wingdings" panose="05000000000000000000" pitchFamily="2" charset="2"/>
              </a:rPr>
              <a:t> Complexos, grande escala, capital intensivos,                                                    multidisciplinares, multiculturais, prazos longos, ... ;    </a:t>
            </a:r>
          </a:p>
          <a:p>
            <a:pPr marL="360000">
              <a:spcAft>
                <a:spcPts val="1800"/>
              </a:spcAft>
            </a:pPr>
            <a:r>
              <a:rPr lang="pt-BR" sz="2400" dirty="0">
                <a:sym typeface="Wingdings" panose="05000000000000000000" pitchFamily="2" charset="2"/>
              </a:rPr>
              <a:t>                                                          </a:t>
            </a:r>
            <a:endParaRPr lang="pt-BR" sz="2400" dirty="0"/>
          </a:p>
          <a:p>
            <a:pPr marL="3600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pt-BR" sz="2400" dirty="0"/>
              <a:t> </a:t>
            </a:r>
            <a:r>
              <a:rPr lang="pt-BR" sz="2400" b="1" dirty="0"/>
              <a:t>Aprovação escalonada </a:t>
            </a:r>
            <a:r>
              <a:rPr lang="pt-BR" sz="2400" dirty="0">
                <a:sym typeface="Wingdings" panose="05000000000000000000" pitchFamily="2" charset="2"/>
              </a:rPr>
              <a:t> </a:t>
            </a:r>
          </a:p>
          <a:p>
            <a:pPr marL="360000">
              <a:spcAft>
                <a:spcPts val="1800"/>
              </a:spcAft>
            </a:pPr>
            <a:endParaRPr lang="pt-BR" sz="2400" b="1" dirty="0"/>
          </a:p>
          <a:p>
            <a:pPr marL="3600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pt-BR" sz="2400" b="1" dirty="0"/>
              <a:t>Tecnologia de ponta </a:t>
            </a:r>
            <a:r>
              <a:rPr lang="pt-BR" sz="2400" dirty="0">
                <a:sym typeface="Wingdings" panose="05000000000000000000" pitchFamily="2" charset="2"/>
              </a:rPr>
              <a:t> “</a:t>
            </a:r>
            <a:r>
              <a:rPr lang="en-US" sz="2400" dirty="0">
                <a:sym typeface="Wingdings" panose="05000000000000000000" pitchFamily="2" charset="2"/>
              </a:rPr>
              <a:t>If it works it's obsolete” (Marshall McLuhan). C</a:t>
            </a:r>
            <a:r>
              <a:rPr lang="pt-BR" sz="2400" dirty="0" err="1">
                <a:sym typeface="Wingdings" panose="05000000000000000000" pitchFamily="2" charset="2"/>
              </a:rPr>
              <a:t>omo</a:t>
            </a:r>
            <a:r>
              <a:rPr lang="pt-BR" sz="2400" dirty="0">
                <a:sym typeface="Wingdings" panose="05000000000000000000" pitchFamily="2" charset="2"/>
              </a:rPr>
              <a:t> implantar novas tecnologias geradas a cada momento ?</a:t>
            </a:r>
            <a:r>
              <a:rPr lang="pt-BR" sz="2400" dirty="0"/>
              <a:t> </a:t>
            </a:r>
          </a:p>
          <a:p>
            <a:pPr marL="3600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pt-BR" sz="2400" b="1" dirty="0">
                <a:solidFill>
                  <a:prstClr val="black"/>
                </a:solidFill>
              </a:rPr>
              <a:t> Semelhança entre projetos </a:t>
            </a:r>
            <a:r>
              <a:rPr lang="pt-BR" sz="2400" dirty="0">
                <a:solidFill>
                  <a:prstClr val="black"/>
                </a:solidFill>
                <a:sym typeface="Wingdings" panose="05000000000000000000" pitchFamily="2" charset="2"/>
              </a:rPr>
              <a:t> </a:t>
            </a:r>
            <a:r>
              <a:rPr lang="pt-BR" sz="2400" dirty="0">
                <a:solidFill>
                  <a:prstClr val="black"/>
                </a:solidFill>
              </a:rPr>
              <a:t>Aplicação constante de lições aprendidas;</a:t>
            </a:r>
          </a:p>
        </p:txBody>
      </p:sp>
      <p:sp>
        <p:nvSpPr>
          <p:cNvPr id="7" name="Retângulo 6">
            <a:extLst>
              <a:ext uri="{FF2B5EF4-FFF2-40B4-BE49-F238E27FC236}">
                <a16:creationId xmlns:a16="http://schemas.microsoft.com/office/drawing/2014/main" id="{47ABA021-3237-425F-BACC-F1533279679C}"/>
              </a:ext>
            </a:extLst>
          </p:cNvPr>
          <p:cNvSpPr/>
          <p:nvPr/>
        </p:nvSpPr>
        <p:spPr>
          <a:xfrm>
            <a:off x="3953906" y="2935745"/>
            <a:ext cx="7324344" cy="1323439"/>
          </a:xfrm>
          <a:prstGeom prst="rect">
            <a:avLst/>
          </a:prstGeom>
          <a:solidFill>
            <a:srgbClr val="FFFF99"/>
          </a:solidFill>
          <a:ln w="28575">
            <a:solidFill>
              <a:schemeClr val="accent1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pPr marL="180000" lvl="1">
              <a:spcAft>
                <a:spcPts val="1200"/>
              </a:spcAft>
            </a:pPr>
            <a:r>
              <a:rPr lang="en-US" sz="2000" b="1" dirty="0"/>
              <a:t> FEL 1</a:t>
            </a:r>
            <a:r>
              <a:rPr lang="en-US" sz="2000" dirty="0"/>
              <a:t>: </a:t>
            </a:r>
            <a:r>
              <a:rPr lang="en-US" sz="2000" dirty="0" err="1"/>
              <a:t>Identificação</a:t>
            </a:r>
            <a:r>
              <a:rPr lang="en-US" sz="2000" dirty="0"/>
              <a:t> da </a:t>
            </a:r>
            <a:r>
              <a:rPr lang="en-US" sz="2000" dirty="0" err="1"/>
              <a:t>Oportunidade</a:t>
            </a:r>
            <a:r>
              <a:rPr lang="en-US" sz="2000" dirty="0"/>
              <a:t> </a:t>
            </a:r>
            <a:r>
              <a:rPr lang="en-US" sz="2000" dirty="0">
                <a:sym typeface="Wingdings" panose="05000000000000000000" pitchFamily="2" charset="2"/>
              </a:rPr>
              <a:t> </a:t>
            </a:r>
            <a:r>
              <a:rPr lang="en-US" sz="2000" b="1" dirty="0"/>
              <a:t>Gate 1</a:t>
            </a:r>
            <a:r>
              <a:rPr lang="en-US" sz="2000" dirty="0"/>
              <a:t>: </a:t>
            </a:r>
            <a:r>
              <a:rPr lang="en-US" sz="2000" dirty="0" err="1"/>
              <a:t>Seleção</a:t>
            </a:r>
            <a:r>
              <a:rPr lang="en-US" sz="2000" dirty="0"/>
              <a:t> de </a:t>
            </a:r>
            <a:r>
              <a:rPr lang="en-US" sz="2000" dirty="0" err="1"/>
              <a:t>Opção</a:t>
            </a:r>
            <a:r>
              <a:rPr lang="en-US" sz="2000" dirty="0"/>
              <a:t>; </a:t>
            </a:r>
          </a:p>
          <a:p>
            <a:pPr marL="180000" lvl="1">
              <a:spcAft>
                <a:spcPts val="1200"/>
              </a:spcAft>
            </a:pPr>
            <a:r>
              <a:rPr lang="en-US" sz="2000" dirty="0"/>
              <a:t> </a:t>
            </a:r>
            <a:r>
              <a:rPr lang="en-US" sz="2000" b="1" dirty="0"/>
              <a:t>FEL 2</a:t>
            </a:r>
            <a:r>
              <a:rPr lang="en-US" sz="2000" dirty="0"/>
              <a:t>: </a:t>
            </a:r>
            <a:r>
              <a:rPr lang="en-US" sz="2000" dirty="0" err="1"/>
              <a:t>Projeto</a:t>
            </a:r>
            <a:r>
              <a:rPr lang="en-US" sz="2000" dirty="0"/>
              <a:t> </a:t>
            </a:r>
            <a:r>
              <a:rPr lang="en-US" sz="2000" dirty="0" err="1"/>
              <a:t>Conceitual</a:t>
            </a:r>
            <a:r>
              <a:rPr lang="en-US" sz="2000" dirty="0"/>
              <a:t> </a:t>
            </a:r>
            <a:r>
              <a:rPr lang="en-US" sz="2000" dirty="0">
                <a:sym typeface="Wingdings" panose="05000000000000000000" pitchFamily="2" charset="2"/>
              </a:rPr>
              <a:t> </a:t>
            </a:r>
            <a:r>
              <a:rPr lang="en-US" sz="2000" b="1" dirty="0"/>
              <a:t>Gate 2</a:t>
            </a:r>
            <a:r>
              <a:rPr lang="en-US" sz="2000" dirty="0"/>
              <a:t>: </a:t>
            </a:r>
            <a:r>
              <a:rPr lang="en-US" sz="2000" dirty="0" err="1"/>
              <a:t>Aprovação</a:t>
            </a:r>
            <a:r>
              <a:rPr lang="en-US" sz="2000" dirty="0"/>
              <a:t> para o </a:t>
            </a:r>
            <a:r>
              <a:rPr lang="en-US" sz="2000" dirty="0" err="1"/>
              <a:t>Básico</a:t>
            </a:r>
            <a:r>
              <a:rPr lang="en-US" sz="2000" dirty="0"/>
              <a:t>;</a:t>
            </a:r>
          </a:p>
          <a:p>
            <a:pPr marL="180000" lvl="1">
              <a:spcAft>
                <a:spcPts val="1200"/>
              </a:spcAft>
            </a:pPr>
            <a:r>
              <a:rPr lang="en-US" sz="2000" b="1" dirty="0"/>
              <a:t> FEL 3</a:t>
            </a:r>
            <a:r>
              <a:rPr lang="en-US" sz="2000" dirty="0"/>
              <a:t>: </a:t>
            </a:r>
            <a:r>
              <a:rPr lang="en-US" sz="2000" dirty="0" err="1"/>
              <a:t>Projeto</a:t>
            </a:r>
            <a:r>
              <a:rPr lang="en-US" sz="2000" dirty="0"/>
              <a:t> </a:t>
            </a:r>
            <a:r>
              <a:rPr lang="en-US" sz="2000" dirty="0" err="1"/>
              <a:t>Básico</a:t>
            </a:r>
            <a:r>
              <a:rPr lang="en-US" sz="2000" dirty="0"/>
              <a:t> </a:t>
            </a:r>
            <a:r>
              <a:rPr lang="en-US" sz="2000" dirty="0">
                <a:sym typeface="Wingdings" panose="05000000000000000000" pitchFamily="2" charset="2"/>
              </a:rPr>
              <a:t> </a:t>
            </a:r>
            <a:r>
              <a:rPr lang="en-US" sz="2000" b="1" dirty="0"/>
              <a:t>Gate 3</a:t>
            </a:r>
            <a:r>
              <a:rPr lang="en-US" sz="2000" dirty="0"/>
              <a:t>: </a:t>
            </a:r>
            <a:r>
              <a:rPr lang="en-US" sz="2000" dirty="0" err="1"/>
              <a:t>Aprovação</a:t>
            </a:r>
            <a:r>
              <a:rPr lang="en-US" sz="2000" dirty="0"/>
              <a:t> para </a:t>
            </a:r>
            <a:r>
              <a:rPr lang="en-US" sz="2000" dirty="0" err="1"/>
              <a:t>Construção</a:t>
            </a:r>
            <a:r>
              <a:rPr lang="en-US" sz="2000" dirty="0"/>
              <a:t> (FID);</a:t>
            </a:r>
          </a:p>
        </p:txBody>
      </p:sp>
      <p:pic>
        <p:nvPicPr>
          <p:cNvPr id="8" name="Imagem 7">
            <a:extLst>
              <a:ext uri="{FF2B5EF4-FFF2-40B4-BE49-F238E27FC236}">
                <a16:creationId xmlns:a16="http://schemas.microsoft.com/office/drawing/2014/main" id="{0C39E1A2-BDC3-48F2-9B7E-103B1E74675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24651" y="-192623"/>
            <a:ext cx="3770891" cy="341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45012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73_Design padrão">
  <a:themeElements>
    <a:clrScheme name="73_Design padrão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73_Design padrão">
      <a:majorFont>
        <a:latin typeface="Arial Narrow"/>
        <a:ea typeface=""/>
        <a:cs typeface="Arial"/>
      </a:majorFont>
      <a:minorFont>
        <a:latin typeface="Arial Narrow"/>
        <a:ea typeface=""/>
        <a:cs typeface="Arial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>
            <a:tab pos="85725" algn="l"/>
          </a:tabLst>
          <a:defRPr kumimoji="0" lang="pt-BR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>
            <a:tab pos="85725" algn="l"/>
          </a:tabLst>
          <a:defRPr kumimoji="0" lang="pt-BR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  <a:cs typeface="Arial" pitchFamily="34" charset="0"/>
          </a:defRPr>
        </a:defPPr>
      </a:lstStyle>
    </a:lnDef>
  </a:objectDefaults>
  <a:extraClrSchemeLst>
    <a:extraClrScheme>
      <a:clrScheme name="73_Design padrã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3_Design padrã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3_Design padrão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3_Design padrão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3_Design padrão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3_Design padrão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3_Design padrão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3_Design padrão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3_Design padrão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3_Design padrão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3_Design padrão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3_Design padrão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Template_OTC2006_v1">
  <a:themeElements>
    <a:clrScheme name="Template_OTC2006_v1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Template_OTC2006_v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>
          <a:prstShdw prst="shdw17" dist="17961" dir="2700000">
            <a:schemeClr val="bg2"/>
          </a:prstShdw>
        </a:effec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pt-BR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>
          <a:prstShdw prst="shdw17" dist="17961" dir="2700000">
            <a:schemeClr val="bg2"/>
          </a:prstShdw>
        </a:effec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pt-BR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Template_OTC2006_v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_OTC2006_v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_OTC2006_v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_OTC2006_v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_OTC2006_v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_OTC2006_v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emplate_OTC2006_v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emplate_OTC2006_v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emplate_OTC2006_v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emplate_OTC2006_v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emplate_OTC2006_v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emplate_OTC2006_v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48136</TotalTime>
  <Words>1274</Words>
  <Application>Microsoft Office PowerPoint</Application>
  <PresentationFormat>Widescreen</PresentationFormat>
  <Paragraphs>155</Paragraphs>
  <Slides>24</Slides>
  <Notes>3</Notes>
  <HiddenSlides>0</HiddenSlides>
  <MMClips>0</MMClips>
  <ScaleCrop>false</ScaleCrop>
  <HeadingPairs>
    <vt:vector size="4" baseType="variant">
      <vt:variant>
        <vt:lpstr>Tema</vt:lpstr>
      </vt:variant>
      <vt:variant>
        <vt:i4>4</vt:i4>
      </vt:variant>
      <vt:variant>
        <vt:lpstr>Títulos de slides</vt:lpstr>
      </vt:variant>
      <vt:variant>
        <vt:i4>24</vt:i4>
      </vt:variant>
    </vt:vector>
  </HeadingPairs>
  <TitlesOfParts>
    <vt:vector size="28" baseType="lpstr">
      <vt:lpstr>Tema do Office</vt:lpstr>
      <vt:lpstr>73_Design padrão</vt:lpstr>
      <vt:lpstr>Template_OTC2006_v1</vt:lpstr>
      <vt:lpstr>Office Theme</vt:lpstr>
      <vt:lpstr>A INDÚSTRIA DE O&amp;G  E SEUS                                    MEGA-PROJETOS</vt:lpstr>
      <vt:lpstr>Apresentação do PowerPoint</vt:lpstr>
      <vt:lpstr>O surgimento do Pré-Sa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Características dos Projetos no Pré-Sal</vt:lpstr>
      <vt:lpstr>Apresentação do PowerPoint</vt:lpstr>
      <vt:lpstr>Apresentação do PowerPoint</vt:lpstr>
      <vt:lpstr>Apresentação do PowerPoint</vt:lpstr>
      <vt:lpstr>Apresentação do PowerPoint</vt:lpstr>
      <vt:lpstr>E por falar em risco ambiental …</vt:lpstr>
      <vt:lpstr>2 Horas mais tarde, no refeitório…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Considerações finais</vt:lpstr>
      <vt:lpstr>Ahmed Yamani </vt:lpstr>
      <vt:lpstr>Osmond Coelho Jr. </vt:lpstr>
      <vt:lpstr>A INDÚSTRIA DE O&amp;G  E SEUS                                    MEGA-PROJETO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Osmond Coelho Júnior</dc:creator>
  <cp:lastModifiedBy>Osmond Coelho Júnior</cp:lastModifiedBy>
  <cp:revision>326</cp:revision>
  <cp:lastPrinted>2022-09-01T18:50:13Z</cp:lastPrinted>
  <dcterms:created xsi:type="dcterms:W3CDTF">2022-06-30T14:44:56Z</dcterms:created>
  <dcterms:modified xsi:type="dcterms:W3CDTF">2022-09-29T12:25:42Z</dcterms:modified>
</cp:coreProperties>
</file>